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sldIdLst>
    <p:sldId id="256" r:id="rId5"/>
  </p:sldIdLst>
  <p:sldSz cx="15119350" cy="10691813"/>
  <p:notesSz cx="6858000" cy="9144000"/>
  <p:custDataLst>
    <p:tags r:id="rId7"/>
  </p:custDataLst>
  <p:defaultTextStyle>
    <a:defPPr>
      <a:defRPr lang="en-US"/>
    </a:defPPr>
    <a:lvl1pPr marL="0" algn="l" defTabSz="1474727" rtl="0" eaLnBrk="1" latinLnBrk="0" hangingPunct="1">
      <a:defRPr sz="2903" kern="1200">
        <a:solidFill>
          <a:schemeClr val="tx1"/>
        </a:solidFill>
        <a:latin typeface="+mn-lt"/>
        <a:ea typeface="+mn-ea"/>
        <a:cs typeface="+mn-cs"/>
      </a:defRPr>
    </a:lvl1pPr>
    <a:lvl2pPr marL="737364" algn="l" defTabSz="1474727" rtl="0" eaLnBrk="1" latinLnBrk="0" hangingPunct="1">
      <a:defRPr sz="2903" kern="1200">
        <a:solidFill>
          <a:schemeClr val="tx1"/>
        </a:solidFill>
        <a:latin typeface="+mn-lt"/>
        <a:ea typeface="+mn-ea"/>
        <a:cs typeface="+mn-cs"/>
      </a:defRPr>
    </a:lvl2pPr>
    <a:lvl3pPr marL="1474727" algn="l" defTabSz="1474727" rtl="0" eaLnBrk="1" latinLnBrk="0" hangingPunct="1">
      <a:defRPr sz="2903" kern="1200">
        <a:solidFill>
          <a:schemeClr val="tx1"/>
        </a:solidFill>
        <a:latin typeface="+mn-lt"/>
        <a:ea typeface="+mn-ea"/>
        <a:cs typeface="+mn-cs"/>
      </a:defRPr>
    </a:lvl3pPr>
    <a:lvl4pPr marL="2212091" algn="l" defTabSz="1474727" rtl="0" eaLnBrk="1" latinLnBrk="0" hangingPunct="1">
      <a:defRPr sz="2903" kern="1200">
        <a:solidFill>
          <a:schemeClr val="tx1"/>
        </a:solidFill>
        <a:latin typeface="+mn-lt"/>
        <a:ea typeface="+mn-ea"/>
        <a:cs typeface="+mn-cs"/>
      </a:defRPr>
    </a:lvl4pPr>
    <a:lvl5pPr marL="2949453" algn="l" defTabSz="1474727" rtl="0" eaLnBrk="1" latinLnBrk="0" hangingPunct="1">
      <a:defRPr sz="2903" kern="1200">
        <a:solidFill>
          <a:schemeClr val="tx1"/>
        </a:solidFill>
        <a:latin typeface="+mn-lt"/>
        <a:ea typeface="+mn-ea"/>
        <a:cs typeface="+mn-cs"/>
      </a:defRPr>
    </a:lvl5pPr>
    <a:lvl6pPr marL="3686817" algn="l" defTabSz="1474727" rtl="0" eaLnBrk="1" latinLnBrk="0" hangingPunct="1">
      <a:defRPr sz="2903" kern="1200">
        <a:solidFill>
          <a:schemeClr val="tx1"/>
        </a:solidFill>
        <a:latin typeface="+mn-lt"/>
        <a:ea typeface="+mn-ea"/>
        <a:cs typeface="+mn-cs"/>
      </a:defRPr>
    </a:lvl6pPr>
    <a:lvl7pPr marL="4424182" algn="l" defTabSz="1474727" rtl="0" eaLnBrk="1" latinLnBrk="0" hangingPunct="1">
      <a:defRPr sz="2903" kern="1200">
        <a:solidFill>
          <a:schemeClr val="tx1"/>
        </a:solidFill>
        <a:latin typeface="+mn-lt"/>
        <a:ea typeface="+mn-ea"/>
        <a:cs typeface="+mn-cs"/>
      </a:defRPr>
    </a:lvl7pPr>
    <a:lvl8pPr marL="5161544" algn="l" defTabSz="1474727" rtl="0" eaLnBrk="1" latinLnBrk="0" hangingPunct="1">
      <a:defRPr sz="2903" kern="1200">
        <a:solidFill>
          <a:schemeClr val="tx1"/>
        </a:solidFill>
        <a:latin typeface="+mn-lt"/>
        <a:ea typeface="+mn-ea"/>
        <a:cs typeface="+mn-cs"/>
      </a:defRPr>
    </a:lvl8pPr>
    <a:lvl9pPr marL="5898908" algn="l" defTabSz="1474727" rtl="0" eaLnBrk="1" latinLnBrk="0" hangingPunct="1">
      <a:defRPr sz="290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5738F1C-A413-E01A-F0B5-F57097FC5C94}" name="Alannah Tran" initials="AT" userId="S::Alannah.Tran@nousgroup.com.au::ca071bd6-a585-4695-914d-bc8a7ace886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7D7D"/>
    <a:srgbClr val="7F0D82"/>
    <a:srgbClr val="5356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11BB77B-6FEE-43A6-8306-E2643AEEDE0C}" v="1" dt="2023-07-31T01:13:22.53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6327" autoAdjust="0"/>
  </p:normalViewPr>
  <p:slideViewPr>
    <p:cSldViewPr snapToGrid="0">
      <p:cViewPr varScale="1">
        <p:scale>
          <a:sx n="77" d="100"/>
          <a:sy n="77" d="100"/>
        </p:scale>
        <p:origin x="2040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Relationship Id="rId14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annah Tran" userId="ca071bd6-a585-4695-914d-bc8a7ace8862" providerId="ADAL" clId="{911BB77B-6FEE-43A6-8306-E2643AEEDE0C}"/>
    <pc:docChg chg="modSld">
      <pc:chgData name="Alannah Tran" userId="ca071bd6-a585-4695-914d-bc8a7ace8862" providerId="ADAL" clId="{911BB77B-6FEE-43A6-8306-E2643AEEDE0C}" dt="2023-07-31T01:13:22.530" v="1"/>
      <pc:docMkLst>
        <pc:docMk/>
      </pc:docMkLst>
      <pc:sldChg chg="modSp mod">
        <pc:chgData name="Alannah Tran" userId="ca071bd6-a585-4695-914d-bc8a7ace8862" providerId="ADAL" clId="{911BB77B-6FEE-43A6-8306-E2643AEEDE0C}" dt="2023-07-31T01:13:22.530" v="1"/>
        <pc:sldMkLst>
          <pc:docMk/>
          <pc:sldMk cId="179364010" sldId="256"/>
        </pc:sldMkLst>
        <pc:graphicFrameChg chg="mod modVis">
          <ac:chgData name="Alannah Tran" userId="ca071bd6-a585-4695-914d-bc8a7ace8862" providerId="ADAL" clId="{911BB77B-6FEE-43A6-8306-E2643AEEDE0C}" dt="2023-07-31T01:13:22.530" v="1"/>
          <ac:graphicFrameMkLst>
            <pc:docMk/>
            <pc:sldMk cId="179364010" sldId="256"/>
            <ac:graphicFrameMk id="12" creationId="{996997C0-ABCC-BBF3-12AD-0C7AC342FC67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CCD3B2-4D7A-4E7B-BDA7-2DB5BDD53175}" type="datetimeFigureOut">
              <a:rPr lang="en-AU" smtClean="0"/>
              <a:t>31/07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7775" y="1143000"/>
            <a:ext cx="43624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4C1774-FB25-401F-8CDD-2DAF6D4705F7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897127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474727" rtl="0" eaLnBrk="1" latinLnBrk="0" hangingPunct="1">
      <a:defRPr sz="1936" kern="1200">
        <a:solidFill>
          <a:schemeClr val="tx1"/>
        </a:solidFill>
        <a:latin typeface="+mn-lt"/>
        <a:ea typeface="+mn-ea"/>
        <a:cs typeface="+mn-cs"/>
      </a:defRPr>
    </a:lvl1pPr>
    <a:lvl2pPr marL="737364" algn="l" defTabSz="1474727" rtl="0" eaLnBrk="1" latinLnBrk="0" hangingPunct="1">
      <a:defRPr sz="1936" kern="1200">
        <a:solidFill>
          <a:schemeClr val="tx1"/>
        </a:solidFill>
        <a:latin typeface="+mn-lt"/>
        <a:ea typeface="+mn-ea"/>
        <a:cs typeface="+mn-cs"/>
      </a:defRPr>
    </a:lvl2pPr>
    <a:lvl3pPr marL="1474727" algn="l" defTabSz="1474727" rtl="0" eaLnBrk="1" latinLnBrk="0" hangingPunct="1">
      <a:defRPr sz="1936" kern="1200">
        <a:solidFill>
          <a:schemeClr val="tx1"/>
        </a:solidFill>
        <a:latin typeface="+mn-lt"/>
        <a:ea typeface="+mn-ea"/>
        <a:cs typeface="+mn-cs"/>
      </a:defRPr>
    </a:lvl3pPr>
    <a:lvl4pPr marL="2212091" algn="l" defTabSz="1474727" rtl="0" eaLnBrk="1" latinLnBrk="0" hangingPunct="1">
      <a:defRPr sz="1936" kern="1200">
        <a:solidFill>
          <a:schemeClr val="tx1"/>
        </a:solidFill>
        <a:latin typeface="+mn-lt"/>
        <a:ea typeface="+mn-ea"/>
        <a:cs typeface="+mn-cs"/>
      </a:defRPr>
    </a:lvl4pPr>
    <a:lvl5pPr marL="2949453" algn="l" defTabSz="1474727" rtl="0" eaLnBrk="1" latinLnBrk="0" hangingPunct="1">
      <a:defRPr sz="1936" kern="1200">
        <a:solidFill>
          <a:schemeClr val="tx1"/>
        </a:solidFill>
        <a:latin typeface="+mn-lt"/>
        <a:ea typeface="+mn-ea"/>
        <a:cs typeface="+mn-cs"/>
      </a:defRPr>
    </a:lvl5pPr>
    <a:lvl6pPr marL="3686817" algn="l" defTabSz="1474727" rtl="0" eaLnBrk="1" latinLnBrk="0" hangingPunct="1">
      <a:defRPr sz="1936" kern="1200">
        <a:solidFill>
          <a:schemeClr val="tx1"/>
        </a:solidFill>
        <a:latin typeface="+mn-lt"/>
        <a:ea typeface="+mn-ea"/>
        <a:cs typeface="+mn-cs"/>
      </a:defRPr>
    </a:lvl6pPr>
    <a:lvl7pPr marL="4424182" algn="l" defTabSz="1474727" rtl="0" eaLnBrk="1" latinLnBrk="0" hangingPunct="1">
      <a:defRPr sz="1936" kern="1200">
        <a:solidFill>
          <a:schemeClr val="tx1"/>
        </a:solidFill>
        <a:latin typeface="+mn-lt"/>
        <a:ea typeface="+mn-ea"/>
        <a:cs typeface="+mn-cs"/>
      </a:defRPr>
    </a:lvl7pPr>
    <a:lvl8pPr marL="5161544" algn="l" defTabSz="1474727" rtl="0" eaLnBrk="1" latinLnBrk="0" hangingPunct="1">
      <a:defRPr sz="1936" kern="1200">
        <a:solidFill>
          <a:schemeClr val="tx1"/>
        </a:solidFill>
        <a:latin typeface="+mn-lt"/>
        <a:ea typeface="+mn-ea"/>
        <a:cs typeface="+mn-cs"/>
      </a:defRPr>
    </a:lvl8pPr>
    <a:lvl9pPr marL="5898908" algn="l" defTabSz="1474727" rtl="0" eaLnBrk="1" latinLnBrk="0" hangingPunct="1">
      <a:defRPr sz="1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68F1505-58BD-8D89-BAFD-46D28C627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402008"/>
              </p:ext>
            </p:extLst>
          </p:nvPr>
        </p:nvGraphicFramePr>
        <p:xfrm>
          <a:off x="2245" y="2246"/>
          <a:ext cx="2246" cy="22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68F1505-58BD-8D89-BAFD-46D28C627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45" y="2246"/>
                        <a:ext cx="2246" cy="22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Free-form: Shape 50">
            <a:extLst>
              <a:ext uri="{FF2B5EF4-FFF2-40B4-BE49-F238E27FC236}">
                <a16:creationId xmlns:a16="http://schemas.microsoft.com/office/drawing/2014/main" id="{15537C9B-4C25-A668-540C-915BC5DCFBDF}"/>
              </a:ext>
            </a:extLst>
          </p:cNvPr>
          <p:cNvSpPr/>
          <p:nvPr userDrawn="1"/>
        </p:nvSpPr>
        <p:spPr>
          <a:xfrm>
            <a:off x="1" y="3482012"/>
            <a:ext cx="15130072" cy="6224263"/>
          </a:xfrm>
          <a:custGeom>
            <a:avLst/>
            <a:gdLst>
              <a:gd name="connsiteX0" fmla="*/ 0 w 8820023"/>
              <a:gd name="connsiteY0" fmla="*/ 0 h 3990721"/>
              <a:gd name="connsiteX1" fmla="*/ 8820023 w 8820023"/>
              <a:gd name="connsiteY1" fmla="*/ 0 h 3990721"/>
              <a:gd name="connsiteX2" fmla="*/ 8820023 w 8820023"/>
              <a:gd name="connsiteY2" fmla="*/ 3990721 h 3990721"/>
              <a:gd name="connsiteX3" fmla="*/ 0 w 8820023"/>
              <a:gd name="connsiteY3" fmla="*/ 3990721 h 3990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3990721">
                <a:moveTo>
                  <a:pt x="0" y="0"/>
                </a:moveTo>
                <a:lnTo>
                  <a:pt x="8820023" y="0"/>
                </a:lnTo>
                <a:lnTo>
                  <a:pt x="8820023" y="3990721"/>
                </a:lnTo>
                <a:lnTo>
                  <a:pt x="0" y="3990721"/>
                </a:lnTo>
                <a:close/>
              </a:path>
            </a:pathLst>
          </a:custGeom>
          <a:solidFill>
            <a:srgbClr val="E0EDF8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>
              <a:solidFill>
                <a:schemeClr val="accent6"/>
              </a:solidFill>
            </a:endParaRP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6B334685-C921-7BF8-BD42-E66D7F73CD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3215" y="869374"/>
            <a:ext cx="7589437" cy="2245000"/>
          </a:xfrm>
        </p:spPr>
        <p:txBody>
          <a:bodyPr/>
          <a:lstStyle>
            <a:lvl1pPr marL="0" indent="0" algn="l">
              <a:buNone/>
              <a:defRPr sz="4832" b="0">
                <a:solidFill>
                  <a:schemeClr val="accent6"/>
                </a:solidFill>
              </a:defRPr>
            </a:lvl1pPr>
            <a:lvl2pPr marL="0" indent="0" algn="l">
              <a:buNone/>
              <a:defRPr sz="3585" b="0">
                <a:solidFill>
                  <a:schemeClr val="accent6"/>
                </a:solidFill>
              </a:defRPr>
            </a:lvl2pPr>
            <a:lvl3pPr marL="0" indent="0" algn="l">
              <a:buNone/>
              <a:defRPr sz="3585" b="0">
                <a:solidFill>
                  <a:schemeClr val="accent6"/>
                </a:solidFill>
              </a:defRPr>
            </a:lvl3pPr>
            <a:lvl4pPr marL="0" indent="0" algn="l">
              <a:buNone/>
              <a:defRPr sz="3585" b="0">
                <a:solidFill>
                  <a:schemeClr val="accent6"/>
                </a:solidFill>
              </a:defRPr>
            </a:lvl4pPr>
            <a:lvl5pPr marL="0" indent="0" algn="l">
              <a:buNone/>
              <a:defRPr sz="3585" b="0">
                <a:solidFill>
                  <a:schemeClr val="accent6"/>
                </a:solidFill>
              </a:defRPr>
            </a:lvl5pPr>
            <a:lvl6pPr marL="0" indent="0" algn="l">
              <a:buNone/>
              <a:defRPr sz="3585" b="0">
                <a:solidFill>
                  <a:schemeClr val="accent6"/>
                </a:solidFill>
              </a:defRPr>
            </a:lvl6pPr>
            <a:lvl7pPr marL="0" indent="0" algn="l">
              <a:buNone/>
              <a:defRPr sz="3585" b="0">
                <a:solidFill>
                  <a:schemeClr val="accent6"/>
                </a:solidFill>
              </a:defRPr>
            </a:lvl7pPr>
            <a:lvl8pPr marL="0" indent="0" algn="l">
              <a:buNone/>
              <a:defRPr sz="3585" b="0">
                <a:solidFill>
                  <a:schemeClr val="accent6"/>
                </a:solidFill>
              </a:defRPr>
            </a:lvl8pPr>
            <a:lvl9pPr marL="0" indent="0" algn="l">
              <a:buNone/>
              <a:defRPr sz="3585" b="0">
                <a:solidFill>
                  <a:schemeClr val="accent6"/>
                </a:solidFill>
              </a:defRPr>
            </a:lvl9pPr>
          </a:lstStyle>
          <a:p>
            <a:r>
              <a:rPr lang="en-AU" dirty="0"/>
              <a:t>Title heading-first level</a:t>
            </a:r>
            <a:endParaRPr lang="en-GB" dirty="0"/>
          </a:p>
          <a:p>
            <a:pPr lvl="1"/>
            <a:r>
              <a:rPr lang="en-US" dirty="0"/>
              <a:t>Subheading-second level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DD9C57-C900-FB86-2C43-875E69AA33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25E74D0-2044-8BDA-EA8E-0C5A69005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28DD7BC2-4298-2530-CB9E-B3B21FD37D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747096" y="1410570"/>
            <a:ext cx="2773779" cy="803254"/>
          </a:xfrm>
          <a:prstGeom prst="rect">
            <a:avLst/>
          </a:prstGeom>
        </p:spPr>
      </p:pic>
      <p:sp>
        <p:nvSpPr>
          <p:cNvPr id="52" name="Free-form: Shape 51">
            <a:extLst>
              <a:ext uri="{FF2B5EF4-FFF2-40B4-BE49-F238E27FC236}">
                <a16:creationId xmlns:a16="http://schemas.microsoft.com/office/drawing/2014/main" id="{E6AA8BCE-511F-1556-14D4-2884B2E45DD0}"/>
              </a:ext>
            </a:extLst>
          </p:cNvPr>
          <p:cNvSpPr/>
          <p:nvPr userDrawn="1"/>
        </p:nvSpPr>
        <p:spPr>
          <a:xfrm>
            <a:off x="7661740" y="6184"/>
            <a:ext cx="4297885" cy="5175828"/>
          </a:xfrm>
          <a:custGeom>
            <a:avLst/>
            <a:gdLst>
              <a:gd name="connsiteX0" fmla="*/ 2599309 w 2599309"/>
              <a:gd name="connsiteY0" fmla="*/ 0 h 3319907"/>
              <a:gd name="connsiteX1" fmla="*/ 1567307 w 2599309"/>
              <a:gd name="connsiteY1" fmla="*/ 0 h 3319907"/>
              <a:gd name="connsiteX2" fmla="*/ 1161923 w 2599309"/>
              <a:gd name="connsiteY2" fmla="*/ 859155 h 3319907"/>
              <a:gd name="connsiteX3" fmla="*/ 1161161 w 2599309"/>
              <a:gd name="connsiteY3" fmla="*/ 859155 h 3319907"/>
              <a:gd name="connsiteX4" fmla="*/ 0 w 2599309"/>
              <a:gd name="connsiteY4" fmla="*/ 3319907 h 3319907"/>
              <a:gd name="connsiteX5" fmla="*/ 1023366 w 2599309"/>
              <a:gd name="connsiteY5" fmla="*/ 3319907 h 3319907"/>
              <a:gd name="connsiteX6" fmla="*/ 2194560 w 2599309"/>
              <a:gd name="connsiteY6" fmla="*/ 859155 h 3319907"/>
              <a:gd name="connsiteX7" fmla="*/ 2190369 w 2599309"/>
              <a:gd name="connsiteY7" fmla="*/ 859155 h 3319907"/>
              <a:gd name="connsiteX8" fmla="*/ 2599309 w 2599309"/>
              <a:gd name="connsiteY8" fmla="*/ 0 h 33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9309" h="3319907">
                <a:moveTo>
                  <a:pt x="2599309" y="0"/>
                </a:moveTo>
                <a:lnTo>
                  <a:pt x="1567307" y="0"/>
                </a:lnTo>
                <a:lnTo>
                  <a:pt x="1161923" y="859155"/>
                </a:lnTo>
                <a:lnTo>
                  <a:pt x="1161161" y="859155"/>
                </a:lnTo>
                <a:lnTo>
                  <a:pt x="0" y="3319907"/>
                </a:lnTo>
                <a:lnTo>
                  <a:pt x="1023366" y="3319907"/>
                </a:lnTo>
                <a:lnTo>
                  <a:pt x="2194560" y="859155"/>
                </a:lnTo>
                <a:lnTo>
                  <a:pt x="2190369" y="859155"/>
                </a:lnTo>
                <a:lnTo>
                  <a:pt x="2599309" y="0"/>
                </a:lnTo>
                <a:close/>
              </a:path>
            </a:pathLst>
          </a:custGeom>
          <a:solidFill>
            <a:srgbClr val="CEDC00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>
              <a:solidFill>
                <a:schemeClr val="accent6"/>
              </a:solidFill>
            </a:endParaRPr>
          </a:p>
        </p:txBody>
      </p:sp>
      <p:sp>
        <p:nvSpPr>
          <p:cNvPr id="53" name="Free-form: Shape 52">
            <a:extLst>
              <a:ext uri="{FF2B5EF4-FFF2-40B4-BE49-F238E27FC236}">
                <a16:creationId xmlns:a16="http://schemas.microsoft.com/office/drawing/2014/main" id="{6B539416-25CC-C2D3-72E7-4C65BD51B5A1}"/>
              </a:ext>
            </a:extLst>
          </p:cNvPr>
          <p:cNvSpPr/>
          <p:nvPr userDrawn="1"/>
        </p:nvSpPr>
        <p:spPr>
          <a:xfrm>
            <a:off x="8509054" y="3488744"/>
            <a:ext cx="1699455" cy="1693267"/>
          </a:xfrm>
          <a:custGeom>
            <a:avLst/>
            <a:gdLst>
              <a:gd name="connsiteX0" fmla="*/ 510921 w 1027810"/>
              <a:gd name="connsiteY0" fmla="*/ 1086104 h 1086104"/>
              <a:gd name="connsiteX1" fmla="*/ 1027811 w 1027810"/>
              <a:gd name="connsiteY1" fmla="*/ 0 h 1086104"/>
              <a:gd name="connsiteX2" fmla="*/ 0 w 1027810"/>
              <a:gd name="connsiteY2" fmla="*/ 0 h 1086104"/>
              <a:gd name="connsiteX3" fmla="*/ 510921 w 1027810"/>
              <a:gd name="connsiteY3" fmla="*/ 1086104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7810" h="1086104">
                <a:moveTo>
                  <a:pt x="510921" y="1086104"/>
                </a:moveTo>
                <a:lnTo>
                  <a:pt x="1027811" y="0"/>
                </a:lnTo>
                <a:lnTo>
                  <a:pt x="0" y="0"/>
                </a:lnTo>
                <a:cubicBezTo>
                  <a:pt x="0" y="0"/>
                  <a:pt x="510921" y="1086104"/>
                  <a:pt x="510921" y="1086104"/>
                </a:cubicBezTo>
                <a:close/>
              </a:path>
            </a:pathLst>
          </a:custGeom>
          <a:solidFill>
            <a:srgbClr val="FFFFFF">
              <a:alpha val="3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>
              <a:solidFill>
                <a:schemeClr val="accent6"/>
              </a:solidFill>
            </a:endParaRPr>
          </a:p>
        </p:txBody>
      </p:sp>
      <p:sp>
        <p:nvSpPr>
          <p:cNvPr id="54" name="Free-form: Shape 53">
            <a:extLst>
              <a:ext uri="{FF2B5EF4-FFF2-40B4-BE49-F238E27FC236}">
                <a16:creationId xmlns:a16="http://schemas.microsoft.com/office/drawing/2014/main" id="{AE37A05A-1CA9-47EB-3D17-768B91E48B21}"/>
              </a:ext>
            </a:extLst>
          </p:cNvPr>
          <p:cNvSpPr/>
          <p:nvPr userDrawn="1"/>
        </p:nvSpPr>
        <p:spPr>
          <a:xfrm>
            <a:off x="6816947" y="3488744"/>
            <a:ext cx="2536901" cy="1693267"/>
          </a:xfrm>
          <a:custGeom>
            <a:avLst/>
            <a:gdLst>
              <a:gd name="connsiteX0" fmla="*/ 1534287 w 1534287"/>
              <a:gd name="connsiteY0" fmla="*/ 1086104 h 1086104"/>
              <a:gd name="connsiteX1" fmla="*/ 1023366 w 1534287"/>
              <a:gd name="connsiteY1" fmla="*/ 0 h 1086104"/>
              <a:gd name="connsiteX2" fmla="*/ 0 w 1534287"/>
              <a:gd name="connsiteY2" fmla="*/ 0 h 1086104"/>
              <a:gd name="connsiteX3" fmla="*/ 510921 w 1534287"/>
              <a:gd name="connsiteY3" fmla="*/ 1086104 h 1086104"/>
              <a:gd name="connsiteX4" fmla="*/ 1534287 w 1534287"/>
              <a:gd name="connsiteY4" fmla="*/ 1086104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4287" h="1086104">
                <a:moveTo>
                  <a:pt x="1534287" y="1086104"/>
                </a:moveTo>
                <a:lnTo>
                  <a:pt x="1023366" y="0"/>
                </a:lnTo>
                <a:lnTo>
                  <a:pt x="0" y="0"/>
                </a:lnTo>
                <a:cubicBezTo>
                  <a:pt x="0" y="0"/>
                  <a:pt x="510921" y="1086104"/>
                  <a:pt x="510921" y="1086104"/>
                </a:cubicBezTo>
                <a:lnTo>
                  <a:pt x="1534287" y="1086104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>
              <a:solidFill>
                <a:schemeClr val="accent6"/>
              </a:solidFill>
            </a:endParaRPr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6A384F39-0A4B-B0FD-E107-CEA489180716}"/>
              </a:ext>
            </a:extLst>
          </p:cNvPr>
          <p:cNvSpPr/>
          <p:nvPr userDrawn="1"/>
        </p:nvSpPr>
        <p:spPr>
          <a:xfrm>
            <a:off x="10560456" y="7555988"/>
            <a:ext cx="3231761" cy="2154398"/>
          </a:xfrm>
          <a:custGeom>
            <a:avLst/>
            <a:gdLst>
              <a:gd name="connsiteX0" fmla="*/ 0 w 1954530"/>
              <a:gd name="connsiteY0" fmla="*/ 0 h 1381886"/>
              <a:gd name="connsiteX1" fmla="*/ 649478 w 1954530"/>
              <a:gd name="connsiteY1" fmla="*/ 1381887 h 1381886"/>
              <a:gd name="connsiteX2" fmla="*/ 1954530 w 1954530"/>
              <a:gd name="connsiteY2" fmla="*/ 1381887 h 1381886"/>
              <a:gd name="connsiteX3" fmla="*/ 1305052 w 1954530"/>
              <a:gd name="connsiteY3" fmla="*/ 0 h 1381886"/>
              <a:gd name="connsiteX4" fmla="*/ 0 w 1954530"/>
              <a:gd name="connsiteY4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530" h="1381886">
                <a:moveTo>
                  <a:pt x="0" y="0"/>
                </a:moveTo>
                <a:lnTo>
                  <a:pt x="649478" y="1381887"/>
                </a:lnTo>
                <a:lnTo>
                  <a:pt x="1954530" y="1381887"/>
                </a:lnTo>
                <a:cubicBezTo>
                  <a:pt x="1954530" y="1381887"/>
                  <a:pt x="1305052" y="0"/>
                  <a:pt x="130505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>
              <a:solidFill>
                <a:schemeClr val="accent6"/>
              </a:solidFill>
            </a:endParaRPr>
          </a:p>
        </p:txBody>
      </p:sp>
      <p:sp>
        <p:nvSpPr>
          <p:cNvPr id="66" name="Free-form: Shape 65">
            <a:extLst>
              <a:ext uri="{FF2B5EF4-FFF2-40B4-BE49-F238E27FC236}">
                <a16:creationId xmlns:a16="http://schemas.microsoft.com/office/drawing/2014/main" id="{3A422AEC-8593-2ABB-3C00-C4F91727399C}"/>
              </a:ext>
            </a:extLst>
          </p:cNvPr>
          <p:cNvSpPr/>
          <p:nvPr userDrawn="1"/>
        </p:nvSpPr>
        <p:spPr>
          <a:xfrm>
            <a:off x="9168846" y="7549805"/>
            <a:ext cx="3549478" cy="2763834"/>
          </a:xfrm>
          <a:custGeom>
            <a:avLst/>
            <a:gdLst>
              <a:gd name="connsiteX0" fmla="*/ 841629 w 2146681"/>
              <a:gd name="connsiteY0" fmla="*/ 0 h 1772793"/>
              <a:gd name="connsiteX1" fmla="*/ 185674 w 2146681"/>
              <a:gd name="connsiteY1" fmla="*/ 1381887 h 1772793"/>
              <a:gd name="connsiteX2" fmla="*/ 185674 w 2146681"/>
              <a:gd name="connsiteY2" fmla="*/ 1381887 h 1772793"/>
              <a:gd name="connsiteX3" fmla="*/ 0 w 2146681"/>
              <a:gd name="connsiteY3" fmla="*/ 1772793 h 1772793"/>
              <a:gd name="connsiteX4" fmla="*/ 1305814 w 2146681"/>
              <a:gd name="connsiteY4" fmla="*/ 1772793 h 1772793"/>
              <a:gd name="connsiteX5" fmla="*/ 1491107 w 2146681"/>
              <a:gd name="connsiteY5" fmla="*/ 1381887 h 1772793"/>
              <a:gd name="connsiteX6" fmla="*/ 2146681 w 2146681"/>
              <a:gd name="connsiteY6" fmla="*/ 0 h 1772793"/>
              <a:gd name="connsiteX7" fmla="*/ 841629 w 2146681"/>
              <a:gd name="connsiteY7" fmla="*/ 0 h 1772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46681" h="1772793">
                <a:moveTo>
                  <a:pt x="841629" y="0"/>
                </a:moveTo>
                <a:lnTo>
                  <a:pt x="185674" y="1381887"/>
                </a:lnTo>
                <a:lnTo>
                  <a:pt x="185674" y="1381887"/>
                </a:lnTo>
                <a:lnTo>
                  <a:pt x="0" y="1772793"/>
                </a:lnTo>
                <a:lnTo>
                  <a:pt x="1305814" y="1772793"/>
                </a:lnTo>
                <a:lnTo>
                  <a:pt x="1491107" y="1381887"/>
                </a:lnTo>
                <a:lnTo>
                  <a:pt x="2146681" y="0"/>
                </a:lnTo>
                <a:lnTo>
                  <a:pt x="841629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>
              <a:solidFill>
                <a:schemeClr val="accent6"/>
              </a:solidFill>
            </a:endParaRPr>
          </a:p>
        </p:txBody>
      </p:sp>
      <p:sp>
        <p:nvSpPr>
          <p:cNvPr id="67" name="Free-form: Shape 66">
            <a:extLst>
              <a:ext uri="{FF2B5EF4-FFF2-40B4-BE49-F238E27FC236}">
                <a16:creationId xmlns:a16="http://schemas.microsoft.com/office/drawing/2014/main" id="{AC33B5E6-8F3D-5E3E-7D9A-EAFBCDBAC63A}"/>
              </a:ext>
            </a:extLst>
          </p:cNvPr>
          <p:cNvSpPr/>
          <p:nvPr userDrawn="1"/>
        </p:nvSpPr>
        <p:spPr>
          <a:xfrm>
            <a:off x="9475856" y="7549806"/>
            <a:ext cx="2158497" cy="2154398"/>
          </a:xfrm>
          <a:custGeom>
            <a:avLst/>
            <a:gdLst>
              <a:gd name="connsiteX0" fmla="*/ 655955 w 1305433"/>
              <a:gd name="connsiteY0" fmla="*/ 0 h 1381886"/>
              <a:gd name="connsiteX1" fmla="*/ 0 w 1305433"/>
              <a:gd name="connsiteY1" fmla="*/ 1381887 h 1381886"/>
              <a:gd name="connsiteX2" fmla="*/ 1305433 w 1305433"/>
              <a:gd name="connsiteY2" fmla="*/ 1381887 h 1381886"/>
              <a:gd name="connsiteX3" fmla="*/ 655955 w 1305433"/>
              <a:gd name="connsiteY3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05433" h="1381886">
                <a:moveTo>
                  <a:pt x="655955" y="0"/>
                </a:moveTo>
                <a:lnTo>
                  <a:pt x="0" y="1381887"/>
                </a:lnTo>
                <a:lnTo>
                  <a:pt x="1305433" y="1381887"/>
                </a:lnTo>
                <a:lnTo>
                  <a:pt x="655955" y="0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>
              <a:solidFill>
                <a:schemeClr val="accent6"/>
              </a:solidFill>
            </a:endParaRPr>
          </a:p>
        </p:txBody>
      </p:sp>
      <p:sp>
        <p:nvSpPr>
          <p:cNvPr id="69" name="Free-form: Shape 68">
            <a:extLst>
              <a:ext uri="{FF2B5EF4-FFF2-40B4-BE49-F238E27FC236}">
                <a16:creationId xmlns:a16="http://schemas.microsoft.com/office/drawing/2014/main" id="{54C5F44E-C5F1-3D65-009F-DB234152592E}"/>
              </a:ext>
            </a:extLst>
          </p:cNvPr>
          <p:cNvSpPr/>
          <p:nvPr userDrawn="1"/>
        </p:nvSpPr>
        <p:spPr>
          <a:xfrm>
            <a:off x="8979855" y="9704205"/>
            <a:ext cx="2654496" cy="987607"/>
          </a:xfrm>
          <a:custGeom>
            <a:avLst/>
            <a:gdLst>
              <a:gd name="connsiteX0" fmla="*/ 1605407 w 1605407"/>
              <a:gd name="connsiteY0" fmla="*/ 0 h 633476"/>
              <a:gd name="connsiteX1" fmla="*/ 299974 w 1605407"/>
              <a:gd name="connsiteY1" fmla="*/ 0 h 633476"/>
              <a:gd name="connsiteX2" fmla="*/ 114300 w 1605407"/>
              <a:gd name="connsiteY2" fmla="*/ 390906 h 633476"/>
              <a:gd name="connsiteX3" fmla="*/ 115189 w 1605407"/>
              <a:gd name="connsiteY3" fmla="*/ 390906 h 633476"/>
              <a:gd name="connsiteX4" fmla="*/ 0 w 1605407"/>
              <a:gd name="connsiteY4" fmla="*/ 633476 h 633476"/>
              <a:gd name="connsiteX5" fmla="*/ 1305814 w 1605407"/>
              <a:gd name="connsiteY5" fmla="*/ 633476 h 633476"/>
              <a:gd name="connsiteX6" fmla="*/ 1490472 w 1605407"/>
              <a:gd name="connsiteY6" fmla="*/ 243713 h 633476"/>
              <a:gd name="connsiteX7" fmla="*/ 1489837 w 1605407"/>
              <a:gd name="connsiteY7" fmla="*/ 243713 h 633476"/>
              <a:gd name="connsiteX8" fmla="*/ 1605407 w 1605407"/>
              <a:gd name="connsiteY8" fmla="*/ 0 h 63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5407" h="633476">
                <a:moveTo>
                  <a:pt x="1605407" y="0"/>
                </a:moveTo>
                <a:lnTo>
                  <a:pt x="299974" y="0"/>
                </a:lnTo>
                <a:lnTo>
                  <a:pt x="114300" y="390906"/>
                </a:lnTo>
                <a:lnTo>
                  <a:pt x="115189" y="390906"/>
                </a:lnTo>
                <a:lnTo>
                  <a:pt x="0" y="633476"/>
                </a:lnTo>
                <a:lnTo>
                  <a:pt x="1305814" y="633476"/>
                </a:lnTo>
                <a:lnTo>
                  <a:pt x="1490472" y="243713"/>
                </a:lnTo>
                <a:lnTo>
                  <a:pt x="1489837" y="243713"/>
                </a:lnTo>
                <a:lnTo>
                  <a:pt x="1605407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>
              <a:solidFill>
                <a:schemeClr val="accent6"/>
              </a:solidFill>
            </a:endParaRP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224B4F1-853F-0203-EE31-DF5D42CD7C16}"/>
              </a:ext>
            </a:extLst>
          </p:cNvPr>
          <p:cNvCxnSpPr/>
          <p:nvPr userDrawn="1"/>
        </p:nvCxnSpPr>
        <p:spPr>
          <a:xfrm>
            <a:off x="13606499" y="10078026"/>
            <a:ext cx="0" cy="242546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Free-form: Shape 67">
            <a:extLst>
              <a:ext uri="{FF2B5EF4-FFF2-40B4-BE49-F238E27FC236}">
                <a16:creationId xmlns:a16="http://schemas.microsoft.com/office/drawing/2014/main" id="{5CB1A71F-769E-D0CB-FA51-63EAE73B574F}"/>
              </a:ext>
            </a:extLst>
          </p:cNvPr>
          <p:cNvSpPr/>
          <p:nvPr userDrawn="1"/>
        </p:nvSpPr>
        <p:spPr>
          <a:xfrm>
            <a:off x="10560459" y="7549806"/>
            <a:ext cx="3231761" cy="2154398"/>
          </a:xfrm>
          <a:custGeom>
            <a:avLst/>
            <a:gdLst>
              <a:gd name="connsiteX0" fmla="*/ 0 w 1954530"/>
              <a:gd name="connsiteY0" fmla="*/ 0 h 1381886"/>
              <a:gd name="connsiteX1" fmla="*/ 649478 w 1954530"/>
              <a:gd name="connsiteY1" fmla="*/ 1381887 h 1381886"/>
              <a:gd name="connsiteX2" fmla="*/ 1954530 w 1954530"/>
              <a:gd name="connsiteY2" fmla="*/ 1381887 h 1381886"/>
              <a:gd name="connsiteX3" fmla="*/ 1305052 w 1954530"/>
              <a:gd name="connsiteY3" fmla="*/ 0 h 1381886"/>
              <a:gd name="connsiteX4" fmla="*/ 0 w 1954530"/>
              <a:gd name="connsiteY4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530" h="1381886">
                <a:moveTo>
                  <a:pt x="0" y="0"/>
                </a:moveTo>
                <a:lnTo>
                  <a:pt x="649478" y="1381887"/>
                </a:lnTo>
                <a:lnTo>
                  <a:pt x="1954530" y="1381887"/>
                </a:lnTo>
                <a:cubicBezTo>
                  <a:pt x="1954530" y="1381887"/>
                  <a:pt x="1305052" y="0"/>
                  <a:pt x="130505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4387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en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ree-form: Shape 38">
            <a:extLst>
              <a:ext uri="{FF2B5EF4-FFF2-40B4-BE49-F238E27FC236}">
                <a16:creationId xmlns:a16="http://schemas.microsoft.com/office/drawing/2014/main" id="{B3F9F954-4071-0FCB-A8F6-174F333AE253}"/>
              </a:ext>
            </a:extLst>
          </p:cNvPr>
          <p:cNvSpPr/>
          <p:nvPr/>
        </p:nvSpPr>
        <p:spPr>
          <a:xfrm>
            <a:off x="0" y="981264"/>
            <a:ext cx="15114736" cy="8716995"/>
          </a:xfrm>
          <a:custGeom>
            <a:avLst/>
            <a:gdLst>
              <a:gd name="connsiteX0" fmla="*/ 0 w 8820023"/>
              <a:gd name="connsiteY0" fmla="*/ 0 h 5591302"/>
              <a:gd name="connsiteX1" fmla="*/ 8820023 w 8820023"/>
              <a:gd name="connsiteY1" fmla="*/ 0 h 5591302"/>
              <a:gd name="connsiteX2" fmla="*/ 8820023 w 8820023"/>
              <a:gd name="connsiteY2" fmla="*/ 5591302 h 5591302"/>
              <a:gd name="connsiteX3" fmla="*/ 0 w 8820023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5591302">
                <a:moveTo>
                  <a:pt x="0" y="0"/>
                </a:moveTo>
                <a:lnTo>
                  <a:pt x="8820023" y="0"/>
                </a:lnTo>
                <a:lnTo>
                  <a:pt x="8820023" y="5591302"/>
                </a:lnTo>
                <a:lnTo>
                  <a:pt x="0" y="5591302"/>
                </a:lnTo>
                <a:close/>
              </a:path>
            </a:pathLst>
          </a:custGeom>
          <a:solidFill>
            <a:srgbClr val="00B1A8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7B6F0F54-9CE1-47BC-8BB5-F63D9769A8E7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5573587" y="981264"/>
            <a:ext cx="9540939" cy="8717986"/>
          </a:xfrm>
          <a:custGeom>
            <a:avLst/>
            <a:gdLst>
              <a:gd name="connsiteX0" fmla="*/ 2644140 w 5770245"/>
              <a:gd name="connsiteY0" fmla="*/ 0 h 5591937"/>
              <a:gd name="connsiteX1" fmla="*/ 5770245 w 5770245"/>
              <a:gd name="connsiteY1" fmla="*/ 0 h 5591937"/>
              <a:gd name="connsiteX2" fmla="*/ 5770245 w 5770245"/>
              <a:gd name="connsiteY2" fmla="*/ 5591937 h 5591937"/>
              <a:gd name="connsiteX3" fmla="*/ 0 w 5770245"/>
              <a:gd name="connsiteY3" fmla="*/ 5591937 h 559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245" h="5591937">
                <a:moveTo>
                  <a:pt x="2644140" y="0"/>
                </a:moveTo>
                <a:lnTo>
                  <a:pt x="5770245" y="0"/>
                </a:lnTo>
                <a:lnTo>
                  <a:pt x="5770245" y="5591937"/>
                </a:lnTo>
                <a:lnTo>
                  <a:pt x="0" y="559193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3600000" tIns="288000" rIns="360000" bIns="360000" anchor="t" anchorCtr="0">
            <a:noAutofit/>
          </a:bodyPr>
          <a:lstStyle>
            <a:lvl1pPr algn="r">
              <a:defRPr sz="2182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9926BE-0D9D-4400-A90E-88C8BB726B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8599" y="3784313"/>
            <a:ext cx="6250125" cy="2245000"/>
          </a:xfrm>
        </p:spPr>
        <p:txBody>
          <a:bodyPr/>
          <a:lstStyle>
            <a:lvl1pPr marL="0" indent="0" algn="l">
              <a:buNone/>
              <a:defRPr sz="3585" b="0">
                <a:solidFill>
                  <a:schemeClr val="bg1"/>
                </a:solidFill>
              </a:defRPr>
            </a:lvl1pPr>
            <a:lvl2pPr marL="0" indent="0" algn="l">
              <a:buNone/>
              <a:defRPr sz="3585" b="0">
                <a:solidFill>
                  <a:schemeClr val="accent3"/>
                </a:solidFill>
              </a:defRPr>
            </a:lvl2pPr>
            <a:lvl3pPr marL="0" indent="0" algn="l">
              <a:buNone/>
              <a:defRPr sz="3585" b="0">
                <a:solidFill>
                  <a:schemeClr val="bg1"/>
                </a:solidFill>
              </a:defRPr>
            </a:lvl3pPr>
            <a:lvl4pPr marL="0" indent="0" algn="l">
              <a:buNone/>
              <a:defRPr sz="3585" b="0">
                <a:solidFill>
                  <a:schemeClr val="bg1"/>
                </a:solidFill>
              </a:defRPr>
            </a:lvl4pPr>
            <a:lvl5pPr marL="0" indent="0" algn="l">
              <a:buNone/>
              <a:defRPr sz="3585" b="0">
                <a:solidFill>
                  <a:schemeClr val="bg1"/>
                </a:solidFill>
              </a:defRPr>
            </a:lvl5pPr>
            <a:lvl6pPr marL="0" indent="0" algn="l">
              <a:buNone/>
              <a:defRPr sz="3585" b="0">
                <a:solidFill>
                  <a:schemeClr val="bg1"/>
                </a:solidFill>
              </a:defRPr>
            </a:lvl6pPr>
            <a:lvl7pPr marL="0" indent="0" algn="l">
              <a:buNone/>
              <a:defRPr sz="3585" b="0">
                <a:solidFill>
                  <a:schemeClr val="bg1"/>
                </a:solidFill>
              </a:defRPr>
            </a:lvl7pPr>
            <a:lvl8pPr marL="0" indent="0" algn="l">
              <a:buNone/>
              <a:defRPr sz="3585" b="0">
                <a:solidFill>
                  <a:schemeClr val="bg1"/>
                </a:solidFill>
              </a:defRPr>
            </a:lvl8pPr>
            <a:lvl9pPr marL="0" indent="0" algn="l">
              <a:buNone/>
              <a:defRPr sz="3585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6FDE619-A8FC-4AAE-B02B-476D7475B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213" y="1968474"/>
            <a:ext cx="6250125" cy="1683750"/>
          </a:xfrm>
        </p:spPr>
        <p:txBody>
          <a:bodyPr anchor="b" anchorCtr="0"/>
          <a:lstStyle>
            <a:lvl1pPr>
              <a:defRPr sz="483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2DD25AD8-4B3B-5469-2A0A-638B094781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945808" y="981262"/>
            <a:ext cx="1464266" cy="1460027"/>
          </a:xfrm>
          <a:custGeom>
            <a:avLst/>
            <a:gdLst>
              <a:gd name="connsiteX0" fmla="*/ 442786 w 885571"/>
              <a:gd name="connsiteY0" fmla="*/ 936364 h 936498"/>
              <a:gd name="connsiteX1" fmla="*/ 442849 w 885571"/>
              <a:gd name="connsiteY1" fmla="*/ 936498 h 936498"/>
              <a:gd name="connsiteX2" fmla="*/ 442722 w 885571"/>
              <a:gd name="connsiteY2" fmla="*/ 936498 h 936498"/>
              <a:gd name="connsiteX3" fmla="*/ 0 w 885571"/>
              <a:gd name="connsiteY3" fmla="*/ 0 h 936498"/>
              <a:gd name="connsiteX4" fmla="*/ 885571 w 885571"/>
              <a:gd name="connsiteY4" fmla="*/ 0 h 936498"/>
              <a:gd name="connsiteX5" fmla="*/ 442786 w 885571"/>
              <a:gd name="connsiteY5" fmla="*/ 936364 h 936498"/>
              <a:gd name="connsiteX6" fmla="*/ 437876 w 885571"/>
              <a:gd name="connsiteY6" fmla="*/ 925981 h 936498"/>
              <a:gd name="connsiteX7" fmla="*/ 0 w 885571"/>
              <a:gd name="connsiteY7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5571" h="936498">
                <a:moveTo>
                  <a:pt x="442786" y="936364"/>
                </a:moveTo>
                <a:lnTo>
                  <a:pt x="442849" y="936498"/>
                </a:lnTo>
                <a:lnTo>
                  <a:pt x="442722" y="936498"/>
                </a:lnTo>
                <a:close/>
                <a:moveTo>
                  <a:pt x="0" y="0"/>
                </a:moveTo>
                <a:lnTo>
                  <a:pt x="885571" y="0"/>
                </a:lnTo>
                <a:lnTo>
                  <a:pt x="442786" y="936364"/>
                </a:lnTo>
                <a:lnTo>
                  <a:pt x="437876" y="925981"/>
                </a:lnTo>
                <a:cubicBezTo>
                  <a:pt x="389223" y="823094"/>
                  <a:pt x="0" y="0"/>
                  <a:pt x="0" y="0"/>
                </a:cubicBez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D4E0CD83-95C3-6463-68B5-540D5EFFF7B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13359" y="981261"/>
            <a:ext cx="1464266" cy="1460027"/>
          </a:xfrm>
          <a:custGeom>
            <a:avLst/>
            <a:gdLst>
              <a:gd name="connsiteX0" fmla="*/ 442786 w 885571"/>
              <a:gd name="connsiteY0" fmla="*/ 134 h 936498"/>
              <a:gd name="connsiteX1" fmla="*/ 447696 w 885571"/>
              <a:gd name="connsiteY1" fmla="*/ 10517 h 936498"/>
              <a:gd name="connsiteX2" fmla="*/ 885571 w 885571"/>
              <a:gd name="connsiteY2" fmla="*/ 936498 h 936498"/>
              <a:gd name="connsiteX3" fmla="*/ 0 w 885571"/>
              <a:gd name="connsiteY3" fmla="*/ 936498 h 936498"/>
              <a:gd name="connsiteX4" fmla="*/ 442722 w 885571"/>
              <a:gd name="connsiteY4" fmla="*/ 0 h 936498"/>
              <a:gd name="connsiteX5" fmla="*/ 442849 w 885571"/>
              <a:gd name="connsiteY5" fmla="*/ 0 h 936498"/>
              <a:gd name="connsiteX6" fmla="*/ 442786 w 885571"/>
              <a:gd name="connsiteY6" fmla="*/ 134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571" h="936498"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52" name="Free-form: Shape 51">
            <a:extLst>
              <a:ext uri="{FF2B5EF4-FFF2-40B4-BE49-F238E27FC236}">
                <a16:creationId xmlns:a16="http://schemas.microsoft.com/office/drawing/2014/main" id="{E1058DF6-0B4D-4561-F410-CF4A6EC5587F}"/>
              </a:ext>
            </a:extLst>
          </p:cNvPr>
          <p:cNvSpPr/>
          <p:nvPr/>
        </p:nvSpPr>
        <p:spPr>
          <a:xfrm>
            <a:off x="10672796" y="9699051"/>
            <a:ext cx="2185375" cy="987013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rgbClr val="53565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/>
          </a:p>
        </p:txBody>
      </p:sp>
      <p:sp>
        <p:nvSpPr>
          <p:cNvPr id="46" name="Free-form: Shape 45">
            <a:extLst>
              <a:ext uri="{FF2B5EF4-FFF2-40B4-BE49-F238E27FC236}">
                <a16:creationId xmlns:a16="http://schemas.microsoft.com/office/drawing/2014/main" id="{83821572-8A3F-6B76-EC63-FFFF39B4D8E2}"/>
              </a:ext>
            </a:extLst>
          </p:cNvPr>
          <p:cNvSpPr/>
          <p:nvPr/>
        </p:nvSpPr>
        <p:spPr>
          <a:xfrm>
            <a:off x="9945597" y="-5747"/>
            <a:ext cx="1958165" cy="987011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48" name="Free-form: Shape 47">
            <a:extLst>
              <a:ext uri="{FF2B5EF4-FFF2-40B4-BE49-F238E27FC236}">
                <a16:creationId xmlns:a16="http://schemas.microsoft.com/office/drawing/2014/main" id="{7147DF2A-84C9-29DC-6E61-6969EC837D59}"/>
              </a:ext>
            </a:extLst>
          </p:cNvPr>
          <p:cNvSpPr/>
          <p:nvPr/>
        </p:nvSpPr>
        <p:spPr>
          <a:xfrm>
            <a:off x="10677627" y="981264"/>
            <a:ext cx="732238" cy="1460026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55" name="Free-form: Shape 54">
            <a:extLst>
              <a:ext uri="{FF2B5EF4-FFF2-40B4-BE49-F238E27FC236}">
                <a16:creationId xmlns:a16="http://schemas.microsoft.com/office/drawing/2014/main" id="{BD8D172D-4A33-0DD4-E56D-113639EAFAE9}"/>
              </a:ext>
            </a:extLst>
          </p:cNvPr>
          <p:cNvSpPr/>
          <p:nvPr/>
        </p:nvSpPr>
        <p:spPr>
          <a:xfrm>
            <a:off x="531073" y="9699052"/>
            <a:ext cx="14592903" cy="987211"/>
          </a:xfrm>
          <a:custGeom>
            <a:avLst/>
            <a:gdLst>
              <a:gd name="connsiteX0" fmla="*/ 0 w 8825611"/>
              <a:gd name="connsiteY0" fmla="*/ 0 h 633222"/>
              <a:gd name="connsiteX1" fmla="*/ 8825611 w 8825611"/>
              <a:gd name="connsiteY1" fmla="*/ 0 h 633222"/>
              <a:gd name="connsiteX2" fmla="*/ 8825611 w 8825611"/>
              <a:gd name="connsiteY2" fmla="*/ 633222 h 633222"/>
              <a:gd name="connsiteX3" fmla="*/ 0 w 8825611"/>
              <a:gd name="connsiteY3" fmla="*/ 633222 h 633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5611" h="633222">
                <a:moveTo>
                  <a:pt x="0" y="0"/>
                </a:moveTo>
                <a:lnTo>
                  <a:pt x="8825611" y="0"/>
                </a:lnTo>
                <a:lnTo>
                  <a:pt x="8825611" y="633222"/>
                </a:lnTo>
                <a:lnTo>
                  <a:pt x="0" y="633222"/>
                </a:lnTo>
                <a:close/>
              </a:path>
            </a:pathLst>
          </a:custGeom>
          <a:noFill/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56" name="Free-form: Shape 55">
            <a:extLst>
              <a:ext uri="{FF2B5EF4-FFF2-40B4-BE49-F238E27FC236}">
                <a16:creationId xmlns:a16="http://schemas.microsoft.com/office/drawing/2014/main" id="{4E22A3CD-7A86-3297-24D4-607873FB419F}"/>
              </a:ext>
            </a:extLst>
          </p:cNvPr>
          <p:cNvSpPr/>
          <p:nvPr/>
        </p:nvSpPr>
        <p:spPr>
          <a:xfrm>
            <a:off x="526453" y="-5748"/>
            <a:ext cx="14592903" cy="987211"/>
          </a:xfrm>
          <a:custGeom>
            <a:avLst/>
            <a:gdLst>
              <a:gd name="connsiteX0" fmla="*/ 0 w 8825611"/>
              <a:gd name="connsiteY0" fmla="*/ 0 h 633222"/>
              <a:gd name="connsiteX1" fmla="*/ 8825611 w 8825611"/>
              <a:gd name="connsiteY1" fmla="*/ 0 h 633222"/>
              <a:gd name="connsiteX2" fmla="*/ 8825611 w 8825611"/>
              <a:gd name="connsiteY2" fmla="*/ 633222 h 633222"/>
              <a:gd name="connsiteX3" fmla="*/ 0 w 8825611"/>
              <a:gd name="connsiteY3" fmla="*/ 633222 h 633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5611" h="633222">
                <a:moveTo>
                  <a:pt x="0" y="0"/>
                </a:moveTo>
                <a:lnTo>
                  <a:pt x="8825611" y="0"/>
                </a:lnTo>
                <a:lnTo>
                  <a:pt x="8825611" y="633222"/>
                </a:lnTo>
                <a:lnTo>
                  <a:pt x="0" y="633222"/>
                </a:lnTo>
                <a:close/>
              </a:path>
            </a:pathLst>
          </a:custGeom>
          <a:noFill/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245E7C8D-18CE-D16D-EBFC-B55D24729C2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481329" y="981261"/>
            <a:ext cx="2196506" cy="1460027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430465A8-B110-5F4A-EF48-43014E78D4D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168372" y="8014498"/>
            <a:ext cx="2537531" cy="1688515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accent6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6711808D-4AD1-4428-129E-131055EC5C8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018209" y="8014498"/>
            <a:ext cx="2527452" cy="1684753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6E9CC3-6786-46BB-D73B-768CE7C9405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2AE132-488B-C489-A635-15025EFDB9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787837" y="9905985"/>
            <a:ext cx="892875" cy="561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558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0FF2009-CFB8-CF28-3413-0B4284833D97}"/>
              </a:ext>
            </a:extLst>
          </p:cNvPr>
          <p:cNvCxnSpPr/>
          <p:nvPr userDrawn="1"/>
        </p:nvCxnSpPr>
        <p:spPr>
          <a:xfrm>
            <a:off x="13606499" y="10078026"/>
            <a:ext cx="0" cy="242546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86922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-form: Shape 3">
            <a:extLst>
              <a:ext uri="{FF2B5EF4-FFF2-40B4-BE49-F238E27FC236}">
                <a16:creationId xmlns:a16="http://schemas.microsoft.com/office/drawing/2014/main" id="{88179413-F21E-6F8B-5621-FD6158E128DD}"/>
              </a:ext>
            </a:extLst>
          </p:cNvPr>
          <p:cNvSpPr/>
          <p:nvPr userDrawn="1"/>
        </p:nvSpPr>
        <p:spPr>
          <a:xfrm>
            <a:off x="0" y="981264"/>
            <a:ext cx="15114736" cy="8716995"/>
          </a:xfrm>
          <a:custGeom>
            <a:avLst/>
            <a:gdLst>
              <a:gd name="connsiteX0" fmla="*/ 0 w 8820023"/>
              <a:gd name="connsiteY0" fmla="*/ 0 h 5591302"/>
              <a:gd name="connsiteX1" fmla="*/ 8820023 w 8820023"/>
              <a:gd name="connsiteY1" fmla="*/ 0 h 5591302"/>
              <a:gd name="connsiteX2" fmla="*/ 8820023 w 8820023"/>
              <a:gd name="connsiteY2" fmla="*/ 5591302 h 5591302"/>
              <a:gd name="connsiteX3" fmla="*/ 0 w 8820023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5591302">
                <a:moveTo>
                  <a:pt x="0" y="0"/>
                </a:moveTo>
                <a:lnTo>
                  <a:pt x="8820023" y="0"/>
                </a:lnTo>
                <a:lnTo>
                  <a:pt x="8820023" y="5591302"/>
                </a:lnTo>
                <a:lnTo>
                  <a:pt x="0" y="5591302"/>
                </a:ln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9494BD2-F017-377F-E9DC-49A72415A2B7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5573587" y="981264"/>
            <a:ext cx="9540939" cy="8717986"/>
          </a:xfrm>
          <a:custGeom>
            <a:avLst/>
            <a:gdLst>
              <a:gd name="connsiteX0" fmla="*/ 2644140 w 5770245"/>
              <a:gd name="connsiteY0" fmla="*/ 0 h 5591937"/>
              <a:gd name="connsiteX1" fmla="*/ 5770245 w 5770245"/>
              <a:gd name="connsiteY1" fmla="*/ 0 h 5591937"/>
              <a:gd name="connsiteX2" fmla="*/ 5770245 w 5770245"/>
              <a:gd name="connsiteY2" fmla="*/ 5591937 h 5591937"/>
              <a:gd name="connsiteX3" fmla="*/ 0 w 5770245"/>
              <a:gd name="connsiteY3" fmla="*/ 5591937 h 559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245" h="5591937">
                <a:moveTo>
                  <a:pt x="2644140" y="0"/>
                </a:moveTo>
                <a:lnTo>
                  <a:pt x="5770245" y="0"/>
                </a:lnTo>
                <a:lnTo>
                  <a:pt x="5770245" y="5591937"/>
                </a:lnTo>
                <a:lnTo>
                  <a:pt x="0" y="559193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3600000" tIns="288000" rIns="360000" bIns="360000" anchor="t" anchorCtr="0">
            <a:noAutofit/>
          </a:bodyPr>
          <a:lstStyle>
            <a:lvl1pPr algn="r">
              <a:defRPr sz="2182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325ACC-A39B-5A9C-08D1-4350B6146F6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45808" y="981262"/>
            <a:ext cx="1464266" cy="1460027"/>
          </a:xfrm>
          <a:custGeom>
            <a:avLst/>
            <a:gdLst>
              <a:gd name="connsiteX0" fmla="*/ 442786 w 885571"/>
              <a:gd name="connsiteY0" fmla="*/ 936364 h 936498"/>
              <a:gd name="connsiteX1" fmla="*/ 442849 w 885571"/>
              <a:gd name="connsiteY1" fmla="*/ 936498 h 936498"/>
              <a:gd name="connsiteX2" fmla="*/ 442722 w 885571"/>
              <a:gd name="connsiteY2" fmla="*/ 936498 h 936498"/>
              <a:gd name="connsiteX3" fmla="*/ 0 w 885571"/>
              <a:gd name="connsiteY3" fmla="*/ 0 h 936498"/>
              <a:gd name="connsiteX4" fmla="*/ 885571 w 885571"/>
              <a:gd name="connsiteY4" fmla="*/ 0 h 936498"/>
              <a:gd name="connsiteX5" fmla="*/ 442786 w 885571"/>
              <a:gd name="connsiteY5" fmla="*/ 936364 h 936498"/>
              <a:gd name="connsiteX6" fmla="*/ 437876 w 885571"/>
              <a:gd name="connsiteY6" fmla="*/ 925981 h 936498"/>
              <a:gd name="connsiteX7" fmla="*/ 0 w 885571"/>
              <a:gd name="connsiteY7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5571" h="936498">
                <a:moveTo>
                  <a:pt x="442786" y="936364"/>
                </a:moveTo>
                <a:lnTo>
                  <a:pt x="442849" y="936498"/>
                </a:lnTo>
                <a:lnTo>
                  <a:pt x="442722" y="936498"/>
                </a:lnTo>
                <a:close/>
                <a:moveTo>
                  <a:pt x="0" y="0"/>
                </a:moveTo>
                <a:lnTo>
                  <a:pt x="885571" y="0"/>
                </a:lnTo>
                <a:lnTo>
                  <a:pt x="442786" y="936364"/>
                </a:lnTo>
                <a:lnTo>
                  <a:pt x="437876" y="925981"/>
                </a:lnTo>
                <a:cubicBezTo>
                  <a:pt x="389223" y="823094"/>
                  <a:pt x="0" y="0"/>
                  <a:pt x="0" y="0"/>
                </a:cubicBez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DAFE03-848B-544C-E0CD-10F5B6562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213359" y="981261"/>
            <a:ext cx="1464266" cy="1460027"/>
          </a:xfrm>
          <a:custGeom>
            <a:avLst/>
            <a:gdLst>
              <a:gd name="connsiteX0" fmla="*/ 442786 w 885571"/>
              <a:gd name="connsiteY0" fmla="*/ 134 h 936498"/>
              <a:gd name="connsiteX1" fmla="*/ 447696 w 885571"/>
              <a:gd name="connsiteY1" fmla="*/ 10517 h 936498"/>
              <a:gd name="connsiteX2" fmla="*/ 885571 w 885571"/>
              <a:gd name="connsiteY2" fmla="*/ 936498 h 936498"/>
              <a:gd name="connsiteX3" fmla="*/ 0 w 885571"/>
              <a:gd name="connsiteY3" fmla="*/ 936498 h 936498"/>
              <a:gd name="connsiteX4" fmla="*/ 442722 w 885571"/>
              <a:gd name="connsiteY4" fmla="*/ 0 h 936498"/>
              <a:gd name="connsiteX5" fmla="*/ 442849 w 885571"/>
              <a:gd name="connsiteY5" fmla="*/ 0 h 936498"/>
              <a:gd name="connsiteX6" fmla="*/ 442786 w 885571"/>
              <a:gd name="connsiteY6" fmla="*/ 134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571" h="936498"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761D47B5-1DCF-DEA5-AD5A-A87DBB4A210B}"/>
              </a:ext>
            </a:extLst>
          </p:cNvPr>
          <p:cNvSpPr/>
          <p:nvPr userDrawn="1"/>
        </p:nvSpPr>
        <p:spPr>
          <a:xfrm>
            <a:off x="10672796" y="9699051"/>
            <a:ext cx="2185375" cy="987013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/>
          </a:p>
        </p:txBody>
      </p:sp>
      <p:sp>
        <p:nvSpPr>
          <p:cNvPr id="9" name="Free-form: Shape 8">
            <a:extLst>
              <a:ext uri="{FF2B5EF4-FFF2-40B4-BE49-F238E27FC236}">
                <a16:creationId xmlns:a16="http://schemas.microsoft.com/office/drawing/2014/main" id="{42C733FE-249E-F4B6-97A5-9BDCDC7F587F}"/>
              </a:ext>
            </a:extLst>
          </p:cNvPr>
          <p:cNvSpPr/>
          <p:nvPr userDrawn="1"/>
        </p:nvSpPr>
        <p:spPr>
          <a:xfrm>
            <a:off x="9945597" y="-5747"/>
            <a:ext cx="1958165" cy="987011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92D11F13-254D-EE69-56CC-3A9083BCD90B}"/>
              </a:ext>
            </a:extLst>
          </p:cNvPr>
          <p:cNvSpPr/>
          <p:nvPr userDrawn="1"/>
        </p:nvSpPr>
        <p:spPr>
          <a:xfrm>
            <a:off x="10677627" y="981264"/>
            <a:ext cx="732238" cy="1460026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23DDCEF-71FC-3732-8A04-4455123CB7A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481329" y="981261"/>
            <a:ext cx="2196506" cy="1460027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5BB121C-7A8C-12E6-80A7-C9F5E008296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1168372" y="8014498"/>
            <a:ext cx="2537531" cy="1688515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en-US" sz="624" dirty="0">
                <a:noFill/>
              </a:defRPr>
            </a:lvl1pPr>
            <a:lvl2pPr>
              <a:defRPr lang="en-US" sz="624" dirty="0">
                <a:noFill/>
              </a:defRPr>
            </a:lvl2pPr>
            <a:lvl3pPr>
              <a:defRPr lang="en-US" sz="624" dirty="0">
                <a:noFill/>
              </a:defRPr>
            </a:lvl3pPr>
            <a:lvl4pPr>
              <a:defRPr lang="en-US" sz="624" dirty="0">
                <a:noFill/>
              </a:defRPr>
            </a:lvl4pPr>
            <a:lvl5pPr>
              <a:defRPr lang="en-US" sz="624" dirty="0">
                <a:noFill/>
              </a:defRPr>
            </a:lvl5pPr>
            <a:lvl6pPr>
              <a:defRPr lang="en-US" sz="624" dirty="0">
                <a:noFill/>
              </a:defRPr>
            </a:lvl6pPr>
            <a:lvl7pPr>
              <a:defRPr lang="en-US" sz="624" dirty="0">
                <a:noFill/>
              </a:defRPr>
            </a:lvl7pPr>
            <a:lvl8pPr>
              <a:defRPr lang="en-US" sz="624" dirty="0">
                <a:noFill/>
              </a:defRPr>
            </a:lvl8pPr>
            <a:lvl9pPr>
              <a:defRPr lang="en-AU" sz="624" dirty="0">
                <a:noFill/>
              </a:defRPr>
            </a:lvl9pPr>
          </a:lstStyle>
          <a:p>
            <a:pPr lvl="0">
              <a:spcBef>
                <a:spcPts val="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6DD6E17-2BA5-2E07-079F-711BDFC6475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2018209" y="8014498"/>
            <a:ext cx="2527452" cy="1684753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478B37A-93E5-3050-AED1-1AE614E5E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3215" y="9905985"/>
            <a:ext cx="7409918" cy="561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558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D48F861-7E55-A416-6C10-E8F443B1817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8599" y="3784313"/>
            <a:ext cx="6250125" cy="2245000"/>
          </a:xfrm>
        </p:spPr>
        <p:txBody>
          <a:bodyPr/>
          <a:lstStyle>
            <a:lvl1pPr marL="0" indent="0" algn="l">
              <a:buNone/>
              <a:defRPr sz="3585" b="0">
                <a:solidFill>
                  <a:schemeClr val="bg1"/>
                </a:solidFill>
              </a:defRPr>
            </a:lvl1pPr>
            <a:lvl2pPr marL="0" indent="0" algn="l">
              <a:buNone/>
              <a:defRPr sz="3585" b="0">
                <a:solidFill>
                  <a:schemeClr val="accent3"/>
                </a:solidFill>
              </a:defRPr>
            </a:lvl2pPr>
            <a:lvl3pPr marL="0" indent="0" algn="l">
              <a:buNone/>
              <a:defRPr sz="3585" b="0">
                <a:solidFill>
                  <a:schemeClr val="bg1"/>
                </a:solidFill>
              </a:defRPr>
            </a:lvl3pPr>
            <a:lvl4pPr marL="0" indent="0" algn="l">
              <a:buNone/>
              <a:defRPr sz="3585" b="0">
                <a:solidFill>
                  <a:schemeClr val="bg1"/>
                </a:solidFill>
              </a:defRPr>
            </a:lvl4pPr>
            <a:lvl5pPr marL="0" indent="0" algn="l">
              <a:buNone/>
              <a:defRPr sz="3585" b="0">
                <a:solidFill>
                  <a:schemeClr val="bg1"/>
                </a:solidFill>
              </a:defRPr>
            </a:lvl5pPr>
            <a:lvl6pPr marL="0" indent="0" algn="l">
              <a:buNone/>
              <a:defRPr sz="3585" b="0">
                <a:solidFill>
                  <a:schemeClr val="bg1"/>
                </a:solidFill>
              </a:defRPr>
            </a:lvl6pPr>
            <a:lvl7pPr marL="0" indent="0" algn="l">
              <a:buNone/>
              <a:defRPr sz="3585" b="0">
                <a:solidFill>
                  <a:schemeClr val="bg1"/>
                </a:solidFill>
              </a:defRPr>
            </a:lvl7pPr>
            <a:lvl8pPr marL="0" indent="0" algn="l">
              <a:buNone/>
              <a:defRPr sz="3585" b="0">
                <a:solidFill>
                  <a:schemeClr val="bg1"/>
                </a:solidFill>
              </a:defRPr>
            </a:lvl8pPr>
            <a:lvl9pPr marL="0" indent="0" algn="l">
              <a:buNone/>
              <a:defRPr sz="3585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3" name="Title 10">
            <a:extLst>
              <a:ext uri="{FF2B5EF4-FFF2-40B4-BE49-F238E27FC236}">
                <a16:creationId xmlns:a16="http://schemas.microsoft.com/office/drawing/2014/main" id="{11278E5F-8266-8988-9BC9-757920918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213" y="1968474"/>
            <a:ext cx="6250125" cy="1683750"/>
          </a:xfrm>
        </p:spPr>
        <p:txBody>
          <a:bodyPr anchor="b" anchorCtr="0"/>
          <a:lstStyle>
            <a:lvl1pPr>
              <a:defRPr sz="483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53C4647-9866-8687-AC61-706DD630EC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787837" y="9905985"/>
            <a:ext cx="892875" cy="561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558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CA80ADE-153B-89EB-C45C-110A3EAD8DEA}"/>
              </a:ext>
            </a:extLst>
          </p:cNvPr>
          <p:cNvCxnSpPr/>
          <p:nvPr userDrawn="1"/>
        </p:nvCxnSpPr>
        <p:spPr>
          <a:xfrm>
            <a:off x="13606499" y="10078026"/>
            <a:ext cx="0" cy="242546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75755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full wid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A0C810F8-DFAB-09FF-9C62-9FCB8ECA197D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2" y="981264"/>
            <a:ext cx="15114525" cy="871798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6840000" tIns="288000" rIns="360000" bIns="360000" anchor="t" anchorCtr="0">
            <a:noAutofit/>
          </a:bodyPr>
          <a:lstStyle>
            <a:lvl1pPr algn="r">
              <a:defRPr sz="2182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478B37A-93E5-3050-AED1-1AE614E5E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3215" y="9905985"/>
            <a:ext cx="7409918" cy="561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558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230822B-F962-DB00-EE97-E4256C54DA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945808" y="981262"/>
            <a:ext cx="1464266" cy="1460027"/>
          </a:xfrm>
          <a:custGeom>
            <a:avLst/>
            <a:gdLst>
              <a:gd name="connsiteX0" fmla="*/ 442786 w 885571"/>
              <a:gd name="connsiteY0" fmla="*/ 936364 h 936498"/>
              <a:gd name="connsiteX1" fmla="*/ 442849 w 885571"/>
              <a:gd name="connsiteY1" fmla="*/ 936498 h 936498"/>
              <a:gd name="connsiteX2" fmla="*/ 442722 w 885571"/>
              <a:gd name="connsiteY2" fmla="*/ 936498 h 936498"/>
              <a:gd name="connsiteX3" fmla="*/ 0 w 885571"/>
              <a:gd name="connsiteY3" fmla="*/ 0 h 936498"/>
              <a:gd name="connsiteX4" fmla="*/ 885571 w 885571"/>
              <a:gd name="connsiteY4" fmla="*/ 0 h 936498"/>
              <a:gd name="connsiteX5" fmla="*/ 442786 w 885571"/>
              <a:gd name="connsiteY5" fmla="*/ 936364 h 936498"/>
              <a:gd name="connsiteX6" fmla="*/ 437876 w 885571"/>
              <a:gd name="connsiteY6" fmla="*/ 925981 h 936498"/>
              <a:gd name="connsiteX7" fmla="*/ 0 w 885571"/>
              <a:gd name="connsiteY7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5571" h="936498">
                <a:moveTo>
                  <a:pt x="442786" y="936364"/>
                </a:moveTo>
                <a:lnTo>
                  <a:pt x="442849" y="936498"/>
                </a:lnTo>
                <a:lnTo>
                  <a:pt x="442722" y="936498"/>
                </a:lnTo>
                <a:close/>
                <a:moveTo>
                  <a:pt x="0" y="0"/>
                </a:moveTo>
                <a:lnTo>
                  <a:pt x="885571" y="0"/>
                </a:lnTo>
                <a:lnTo>
                  <a:pt x="442786" y="936364"/>
                </a:lnTo>
                <a:lnTo>
                  <a:pt x="437876" y="925981"/>
                </a:lnTo>
                <a:cubicBezTo>
                  <a:pt x="389223" y="823094"/>
                  <a:pt x="0" y="0"/>
                  <a:pt x="0" y="0"/>
                </a:cubicBez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82D5331-408D-EF45-7B7C-C5B7E1DA757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13359" y="981261"/>
            <a:ext cx="1464266" cy="1460027"/>
          </a:xfrm>
          <a:custGeom>
            <a:avLst/>
            <a:gdLst>
              <a:gd name="connsiteX0" fmla="*/ 442786 w 885571"/>
              <a:gd name="connsiteY0" fmla="*/ 134 h 936498"/>
              <a:gd name="connsiteX1" fmla="*/ 447696 w 885571"/>
              <a:gd name="connsiteY1" fmla="*/ 10517 h 936498"/>
              <a:gd name="connsiteX2" fmla="*/ 885571 w 885571"/>
              <a:gd name="connsiteY2" fmla="*/ 936498 h 936498"/>
              <a:gd name="connsiteX3" fmla="*/ 0 w 885571"/>
              <a:gd name="connsiteY3" fmla="*/ 936498 h 936498"/>
              <a:gd name="connsiteX4" fmla="*/ 442722 w 885571"/>
              <a:gd name="connsiteY4" fmla="*/ 0 h 936498"/>
              <a:gd name="connsiteX5" fmla="*/ 442849 w 885571"/>
              <a:gd name="connsiteY5" fmla="*/ 0 h 936498"/>
              <a:gd name="connsiteX6" fmla="*/ 442786 w 885571"/>
              <a:gd name="connsiteY6" fmla="*/ 134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571" h="936498"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9" name="Free-form: Shape 18">
            <a:extLst>
              <a:ext uri="{FF2B5EF4-FFF2-40B4-BE49-F238E27FC236}">
                <a16:creationId xmlns:a16="http://schemas.microsoft.com/office/drawing/2014/main" id="{A3A3D436-8180-38F3-59D6-0BA3DD774A4D}"/>
              </a:ext>
            </a:extLst>
          </p:cNvPr>
          <p:cNvSpPr/>
          <p:nvPr userDrawn="1"/>
        </p:nvSpPr>
        <p:spPr>
          <a:xfrm>
            <a:off x="10672796" y="9699051"/>
            <a:ext cx="2185375" cy="987013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/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41BC3F22-BF2C-9936-4961-258371143F9B}"/>
              </a:ext>
            </a:extLst>
          </p:cNvPr>
          <p:cNvSpPr/>
          <p:nvPr userDrawn="1"/>
        </p:nvSpPr>
        <p:spPr>
          <a:xfrm>
            <a:off x="9945597" y="-5747"/>
            <a:ext cx="1958165" cy="987011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2315349F-5DCB-7C77-ADF4-93BBD78D466D}"/>
              </a:ext>
            </a:extLst>
          </p:cNvPr>
          <p:cNvSpPr/>
          <p:nvPr userDrawn="1"/>
        </p:nvSpPr>
        <p:spPr>
          <a:xfrm>
            <a:off x="10677627" y="981264"/>
            <a:ext cx="732238" cy="1460026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28" name="Free-form: Shape 27">
            <a:extLst>
              <a:ext uri="{FF2B5EF4-FFF2-40B4-BE49-F238E27FC236}">
                <a16:creationId xmlns:a16="http://schemas.microsoft.com/office/drawing/2014/main" id="{1407844C-B43F-E7F1-25BB-730A42F8C798}"/>
              </a:ext>
            </a:extLst>
          </p:cNvPr>
          <p:cNvSpPr/>
          <p:nvPr userDrawn="1"/>
        </p:nvSpPr>
        <p:spPr>
          <a:xfrm>
            <a:off x="526453" y="-5748"/>
            <a:ext cx="14592903" cy="987211"/>
          </a:xfrm>
          <a:custGeom>
            <a:avLst/>
            <a:gdLst>
              <a:gd name="connsiteX0" fmla="*/ 0 w 8825611"/>
              <a:gd name="connsiteY0" fmla="*/ 0 h 633222"/>
              <a:gd name="connsiteX1" fmla="*/ 8825611 w 8825611"/>
              <a:gd name="connsiteY1" fmla="*/ 0 h 633222"/>
              <a:gd name="connsiteX2" fmla="*/ 8825611 w 8825611"/>
              <a:gd name="connsiteY2" fmla="*/ 633222 h 633222"/>
              <a:gd name="connsiteX3" fmla="*/ 0 w 8825611"/>
              <a:gd name="connsiteY3" fmla="*/ 633222 h 633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5611" h="633222">
                <a:moveTo>
                  <a:pt x="0" y="0"/>
                </a:moveTo>
                <a:lnTo>
                  <a:pt x="8825611" y="0"/>
                </a:lnTo>
                <a:lnTo>
                  <a:pt x="8825611" y="633222"/>
                </a:lnTo>
                <a:lnTo>
                  <a:pt x="0" y="633222"/>
                </a:lnTo>
                <a:close/>
              </a:path>
            </a:pathLst>
          </a:custGeom>
          <a:noFill/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B44498DC-53F4-4976-1118-A8506276F4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481329" y="981261"/>
            <a:ext cx="2196506" cy="1460027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78D3637-7058-A75F-A9AF-CA3F50EE0F9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168372" y="8014498"/>
            <a:ext cx="2537531" cy="1688515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en-US" sz="624" dirty="0">
                <a:noFill/>
              </a:defRPr>
            </a:lvl1pPr>
            <a:lvl2pPr>
              <a:defRPr lang="en-US" sz="624" dirty="0">
                <a:noFill/>
              </a:defRPr>
            </a:lvl2pPr>
            <a:lvl3pPr>
              <a:defRPr lang="en-US" sz="624" dirty="0">
                <a:noFill/>
              </a:defRPr>
            </a:lvl3pPr>
            <a:lvl4pPr>
              <a:defRPr lang="en-US" sz="624" dirty="0">
                <a:noFill/>
              </a:defRPr>
            </a:lvl4pPr>
            <a:lvl5pPr>
              <a:defRPr lang="en-US" sz="624" dirty="0">
                <a:noFill/>
              </a:defRPr>
            </a:lvl5pPr>
            <a:lvl6pPr>
              <a:defRPr lang="en-US" sz="624" dirty="0">
                <a:noFill/>
              </a:defRPr>
            </a:lvl6pPr>
            <a:lvl7pPr>
              <a:defRPr lang="en-US" sz="624" dirty="0">
                <a:noFill/>
              </a:defRPr>
            </a:lvl7pPr>
            <a:lvl8pPr>
              <a:defRPr lang="en-US" sz="624" dirty="0">
                <a:noFill/>
              </a:defRPr>
            </a:lvl8pPr>
            <a:lvl9pPr>
              <a:defRPr lang="en-AU" sz="624" dirty="0">
                <a:noFill/>
              </a:defRPr>
            </a:lvl9pPr>
          </a:lstStyle>
          <a:p>
            <a:pPr lvl="0">
              <a:spcBef>
                <a:spcPts val="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2837DE7F-B0A0-98EB-E050-22BBFBCCB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018209" y="8014498"/>
            <a:ext cx="2527452" cy="1684753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24349991-AE8C-CA92-BF55-D82BA54DBCB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" y="981263"/>
            <a:ext cx="9945597" cy="8716995"/>
          </a:xfrm>
          <a:custGeom>
            <a:avLst/>
            <a:gdLst>
              <a:gd name="connsiteX0" fmla="*/ 0 w 6014977"/>
              <a:gd name="connsiteY0" fmla="*/ 0 h 5591302"/>
              <a:gd name="connsiteX1" fmla="*/ 6014977 w 6014977"/>
              <a:gd name="connsiteY1" fmla="*/ 0 h 5591302"/>
              <a:gd name="connsiteX2" fmla="*/ 3371137 w 6014977"/>
              <a:gd name="connsiteY2" fmla="*/ 5591302 h 5591302"/>
              <a:gd name="connsiteX3" fmla="*/ 0 w 6014977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4977" h="5591302">
                <a:moveTo>
                  <a:pt x="0" y="0"/>
                </a:moveTo>
                <a:lnTo>
                  <a:pt x="6014977" y="0"/>
                </a:lnTo>
                <a:lnTo>
                  <a:pt x="3371137" y="5591302"/>
                </a:lnTo>
                <a:lnTo>
                  <a:pt x="0" y="5591302"/>
                </a:lnTo>
                <a:close/>
              </a:path>
            </a:pathLst>
          </a:custGeom>
          <a:solidFill>
            <a:schemeClr val="tx2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A6F139C8-B6EF-5B84-13D9-F8ADEBD2FC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213" y="1968474"/>
            <a:ext cx="6250125" cy="1683750"/>
          </a:xfrm>
        </p:spPr>
        <p:txBody>
          <a:bodyPr anchor="b" anchorCtr="0"/>
          <a:lstStyle>
            <a:lvl1pPr>
              <a:defRPr sz="483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3082BF0-ED0B-5BEB-3CD5-ED3CAB19DA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8599" y="3784313"/>
            <a:ext cx="6250125" cy="2245000"/>
          </a:xfrm>
        </p:spPr>
        <p:txBody>
          <a:bodyPr/>
          <a:lstStyle>
            <a:lvl1pPr marL="0" indent="0" algn="l">
              <a:buNone/>
              <a:defRPr sz="3585" b="0">
                <a:solidFill>
                  <a:schemeClr val="bg1"/>
                </a:solidFill>
              </a:defRPr>
            </a:lvl1pPr>
            <a:lvl2pPr marL="0" indent="0" algn="l">
              <a:buNone/>
              <a:defRPr sz="3585" b="0">
                <a:solidFill>
                  <a:schemeClr val="accent3"/>
                </a:solidFill>
              </a:defRPr>
            </a:lvl2pPr>
            <a:lvl3pPr marL="0" indent="0" algn="l">
              <a:buNone/>
              <a:defRPr sz="3585" b="0">
                <a:solidFill>
                  <a:schemeClr val="bg1"/>
                </a:solidFill>
              </a:defRPr>
            </a:lvl3pPr>
            <a:lvl4pPr marL="0" indent="0" algn="l">
              <a:buNone/>
              <a:defRPr sz="3585" b="0">
                <a:solidFill>
                  <a:schemeClr val="bg1"/>
                </a:solidFill>
              </a:defRPr>
            </a:lvl4pPr>
            <a:lvl5pPr marL="0" indent="0" algn="l">
              <a:buNone/>
              <a:defRPr sz="3585" b="0">
                <a:solidFill>
                  <a:schemeClr val="bg1"/>
                </a:solidFill>
              </a:defRPr>
            </a:lvl5pPr>
            <a:lvl6pPr marL="0" indent="0" algn="l">
              <a:buNone/>
              <a:defRPr sz="3585" b="0">
                <a:solidFill>
                  <a:schemeClr val="bg1"/>
                </a:solidFill>
              </a:defRPr>
            </a:lvl6pPr>
            <a:lvl7pPr marL="0" indent="0" algn="l">
              <a:buNone/>
              <a:defRPr sz="3585" b="0">
                <a:solidFill>
                  <a:schemeClr val="bg1"/>
                </a:solidFill>
              </a:defRPr>
            </a:lvl7pPr>
            <a:lvl8pPr marL="0" indent="0" algn="l">
              <a:buNone/>
              <a:defRPr sz="3585" b="0">
                <a:solidFill>
                  <a:schemeClr val="bg1"/>
                </a:solidFill>
              </a:defRPr>
            </a:lvl8pPr>
            <a:lvl9pPr marL="0" indent="0" algn="l">
              <a:buNone/>
              <a:defRPr sz="3585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AEE8CEF-2A9A-A284-2ECE-73C5016C2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787837" y="9905985"/>
            <a:ext cx="892875" cy="561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558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A814517-E33B-AFFF-52E3-DE0C61785E9A}"/>
              </a:ext>
            </a:extLst>
          </p:cNvPr>
          <p:cNvCxnSpPr/>
          <p:nvPr userDrawn="1"/>
        </p:nvCxnSpPr>
        <p:spPr>
          <a:xfrm>
            <a:off x="13606499" y="10078026"/>
            <a:ext cx="0" cy="242546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733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775179C6-69B1-0B86-138C-7F7820A4F219}"/>
              </a:ext>
            </a:extLst>
          </p:cNvPr>
          <p:cNvSpPr/>
          <p:nvPr userDrawn="1"/>
        </p:nvSpPr>
        <p:spPr>
          <a:xfrm>
            <a:off x="0" y="981264"/>
            <a:ext cx="15114736" cy="8716995"/>
          </a:xfrm>
          <a:custGeom>
            <a:avLst/>
            <a:gdLst>
              <a:gd name="connsiteX0" fmla="*/ 0 w 8820023"/>
              <a:gd name="connsiteY0" fmla="*/ 0 h 5591302"/>
              <a:gd name="connsiteX1" fmla="*/ 8820023 w 8820023"/>
              <a:gd name="connsiteY1" fmla="*/ 0 h 5591302"/>
              <a:gd name="connsiteX2" fmla="*/ 8820023 w 8820023"/>
              <a:gd name="connsiteY2" fmla="*/ 5591302 h 5591302"/>
              <a:gd name="connsiteX3" fmla="*/ 0 w 8820023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5591302">
                <a:moveTo>
                  <a:pt x="0" y="0"/>
                </a:moveTo>
                <a:lnTo>
                  <a:pt x="8820023" y="0"/>
                </a:lnTo>
                <a:lnTo>
                  <a:pt x="8820023" y="5591302"/>
                </a:lnTo>
                <a:lnTo>
                  <a:pt x="0" y="5591302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/>
          </a:p>
        </p:txBody>
      </p:sp>
      <p:sp>
        <p:nvSpPr>
          <p:cNvPr id="44" name="Free-form: Shape 43">
            <a:extLst>
              <a:ext uri="{FF2B5EF4-FFF2-40B4-BE49-F238E27FC236}">
                <a16:creationId xmlns:a16="http://schemas.microsoft.com/office/drawing/2014/main" id="{DE084157-4075-0FD5-6E63-97A51B858EB1}"/>
              </a:ext>
            </a:extLst>
          </p:cNvPr>
          <p:cNvSpPr/>
          <p:nvPr userDrawn="1"/>
        </p:nvSpPr>
        <p:spPr>
          <a:xfrm>
            <a:off x="5573587" y="981264"/>
            <a:ext cx="9540939" cy="8717986"/>
          </a:xfrm>
          <a:custGeom>
            <a:avLst/>
            <a:gdLst>
              <a:gd name="connsiteX0" fmla="*/ 2644140 w 5770245"/>
              <a:gd name="connsiteY0" fmla="*/ 0 h 5591937"/>
              <a:gd name="connsiteX1" fmla="*/ 5770245 w 5770245"/>
              <a:gd name="connsiteY1" fmla="*/ 0 h 5591937"/>
              <a:gd name="connsiteX2" fmla="*/ 5770245 w 5770245"/>
              <a:gd name="connsiteY2" fmla="*/ 5591937 h 5591937"/>
              <a:gd name="connsiteX3" fmla="*/ 0 w 5770245"/>
              <a:gd name="connsiteY3" fmla="*/ 5591937 h 559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245" h="5591937">
                <a:moveTo>
                  <a:pt x="2644140" y="0"/>
                </a:moveTo>
                <a:lnTo>
                  <a:pt x="5770245" y="0"/>
                </a:lnTo>
                <a:lnTo>
                  <a:pt x="5770245" y="5591937"/>
                </a:lnTo>
                <a:lnTo>
                  <a:pt x="0" y="559193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AU" sz="2806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478B37A-93E5-3050-AED1-1AE614E5E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3215" y="9905985"/>
            <a:ext cx="7409918" cy="561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558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35" name="Free-form: Shape 34">
            <a:extLst>
              <a:ext uri="{FF2B5EF4-FFF2-40B4-BE49-F238E27FC236}">
                <a16:creationId xmlns:a16="http://schemas.microsoft.com/office/drawing/2014/main" id="{E716590E-9291-B2F9-3AA6-85CA4C91DBB9}"/>
              </a:ext>
            </a:extLst>
          </p:cNvPr>
          <p:cNvSpPr/>
          <p:nvPr userDrawn="1"/>
        </p:nvSpPr>
        <p:spPr>
          <a:xfrm>
            <a:off x="10672796" y="9699051"/>
            <a:ext cx="2185375" cy="987013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/>
          </a:p>
        </p:txBody>
      </p:sp>
      <p:sp>
        <p:nvSpPr>
          <p:cNvPr id="36" name="Free-form: Shape 35">
            <a:extLst>
              <a:ext uri="{FF2B5EF4-FFF2-40B4-BE49-F238E27FC236}">
                <a16:creationId xmlns:a16="http://schemas.microsoft.com/office/drawing/2014/main" id="{4D003B98-C3EA-C7FE-AD96-45DA60D8E705}"/>
              </a:ext>
            </a:extLst>
          </p:cNvPr>
          <p:cNvSpPr/>
          <p:nvPr userDrawn="1"/>
        </p:nvSpPr>
        <p:spPr>
          <a:xfrm>
            <a:off x="9945597" y="-5747"/>
            <a:ext cx="1958165" cy="987011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D57C1E03-A62F-F5AC-8A66-6F45EDC22105}"/>
              </a:ext>
            </a:extLst>
          </p:cNvPr>
          <p:cNvSpPr/>
          <p:nvPr userDrawn="1"/>
        </p:nvSpPr>
        <p:spPr>
          <a:xfrm>
            <a:off x="10677627" y="981264"/>
            <a:ext cx="732238" cy="1460026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CAB36581-B79B-989F-D79E-A149C37E49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8599" y="3784313"/>
            <a:ext cx="6250125" cy="2245000"/>
          </a:xfrm>
        </p:spPr>
        <p:txBody>
          <a:bodyPr/>
          <a:lstStyle>
            <a:lvl1pPr marL="0" indent="0" algn="l">
              <a:buNone/>
              <a:defRPr sz="3585" b="0">
                <a:solidFill>
                  <a:schemeClr val="bg1"/>
                </a:solidFill>
              </a:defRPr>
            </a:lvl1pPr>
            <a:lvl2pPr marL="0" indent="0" algn="l">
              <a:buNone/>
              <a:defRPr sz="3585" b="0">
                <a:solidFill>
                  <a:schemeClr val="accent3"/>
                </a:solidFill>
              </a:defRPr>
            </a:lvl2pPr>
            <a:lvl3pPr marL="0" indent="0" algn="l">
              <a:buNone/>
              <a:defRPr sz="3585" b="0">
                <a:solidFill>
                  <a:schemeClr val="bg1"/>
                </a:solidFill>
              </a:defRPr>
            </a:lvl3pPr>
            <a:lvl4pPr marL="0" indent="0" algn="l">
              <a:buNone/>
              <a:defRPr sz="3585" b="0">
                <a:solidFill>
                  <a:schemeClr val="bg1"/>
                </a:solidFill>
              </a:defRPr>
            </a:lvl4pPr>
            <a:lvl5pPr marL="0" indent="0" algn="l">
              <a:buNone/>
              <a:defRPr sz="3585" b="0">
                <a:solidFill>
                  <a:schemeClr val="bg1"/>
                </a:solidFill>
              </a:defRPr>
            </a:lvl5pPr>
            <a:lvl6pPr marL="0" indent="0" algn="l">
              <a:buNone/>
              <a:defRPr sz="3585" b="0">
                <a:solidFill>
                  <a:schemeClr val="bg1"/>
                </a:solidFill>
              </a:defRPr>
            </a:lvl6pPr>
            <a:lvl7pPr marL="0" indent="0" algn="l">
              <a:buNone/>
              <a:defRPr sz="3585" b="0">
                <a:solidFill>
                  <a:schemeClr val="bg1"/>
                </a:solidFill>
              </a:defRPr>
            </a:lvl7pPr>
            <a:lvl8pPr marL="0" indent="0" algn="l">
              <a:buNone/>
              <a:defRPr sz="3585" b="0">
                <a:solidFill>
                  <a:schemeClr val="bg1"/>
                </a:solidFill>
              </a:defRPr>
            </a:lvl8pPr>
            <a:lvl9pPr marL="0" indent="0" algn="l">
              <a:buNone/>
              <a:defRPr sz="3585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42" name="Title 10">
            <a:extLst>
              <a:ext uri="{FF2B5EF4-FFF2-40B4-BE49-F238E27FC236}">
                <a16:creationId xmlns:a16="http://schemas.microsoft.com/office/drawing/2014/main" id="{2A95F71B-5627-FFA8-5C56-3B3CD5D057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213" y="1968474"/>
            <a:ext cx="6250125" cy="1683750"/>
          </a:xfrm>
        </p:spPr>
        <p:txBody>
          <a:bodyPr anchor="b" anchorCtr="0"/>
          <a:lstStyle>
            <a:lvl1pPr>
              <a:defRPr sz="483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01DA6775-E0B6-7D84-E7B3-F5EA83C07776}"/>
              </a:ext>
            </a:extLst>
          </p:cNvPr>
          <p:cNvSpPr/>
          <p:nvPr userDrawn="1"/>
        </p:nvSpPr>
        <p:spPr>
          <a:xfrm>
            <a:off x="9213360" y="981262"/>
            <a:ext cx="2196715" cy="1460028"/>
          </a:xfrm>
          <a:custGeom>
            <a:avLst/>
            <a:gdLst>
              <a:gd name="connsiteX0" fmla="*/ 885762 w 1328547"/>
              <a:gd name="connsiteY0" fmla="*/ 936365 h 936499"/>
              <a:gd name="connsiteX1" fmla="*/ 885825 w 1328547"/>
              <a:gd name="connsiteY1" fmla="*/ 936499 h 936499"/>
              <a:gd name="connsiteX2" fmla="*/ 885698 w 1328547"/>
              <a:gd name="connsiteY2" fmla="*/ 936499 h 936499"/>
              <a:gd name="connsiteX3" fmla="*/ 442786 w 1328547"/>
              <a:gd name="connsiteY3" fmla="*/ 134 h 936499"/>
              <a:gd name="connsiteX4" fmla="*/ 447696 w 1328547"/>
              <a:gd name="connsiteY4" fmla="*/ 10517 h 936499"/>
              <a:gd name="connsiteX5" fmla="*/ 885571 w 1328547"/>
              <a:gd name="connsiteY5" fmla="*/ 936498 h 936499"/>
              <a:gd name="connsiteX6" fmla="*/ 0 w 1328547"/>
              <a:gd name="connsiteY6" fmla="*/ 936498 h 936499"/>
              <a:gd name="connsiteX7" fmla="*/ 442976 w 1328547"/>
              <a:gd name="connsiteY7" fmla="*/ 1 h 936499"/>
              <a:gd name="connsiteX8" fmla="*/ 1328547 w 1328547"/>
              <a:gd name="connsiteY8" fmla="*/ 1 h 936499"/>
              <a:gd name="connsiteX9" fmla="*/ 885762 w 1328547"/>
              <a:gd name="connsiteY9" fmla="*/ 936365 h 936499"/>
              <a:gd name="connsiteX10" fmla="*/ 880852 w 1328547"/>
              <a:gd name="connsiteY10" fmla="*/ 925982 h 936499"/>
              <a:gd name="connsiteX11" fmla="*/ 442976 w 1328547"/>
              <a:gd name="connsiteY11" fmla="*/ 1 h 936499"/>
              <a:gd name="connsiteX12" fmla="*/ 442722 w 1328547"/>
              <a:gd name="connsiteY12" fmla="*/ 0 h 936499"/>
              <a:gd name="connsiteX13" fmla="*/ 442849 w 1328547"/>
              <a:gd name="connsiteY13" fmla="*/ 0 h 936499"/>
              <a:gd name="connsiteX14" fmla="*/ 442786 w 1328547"/>
              <a:gd name="connsiteY14" fmla="*/ 134 h 936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328547" h="936499">
                <a:moveTo>
                  <a:pt x="885762" y="936365"/>
                </a:moveTo>
                <a:lnTo>
                  <a:pt x="885825" y="936499"/>
                </a:lnTo>
                <a:lnTo>
                  <a:pt x="885698" y="936499"/>
                </a:lnTo>
                <a:close/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976" y="1"/>
                </a:moveTo>
                <a:lnTo>
                  <a:pt x="1328547" y="1"/>
                </a:lnTo>
                <a:lnTo>
                  <a:pt x="885762" y="936365"/>
                </a:lnTo>
                <a:lnTo>
                  <a:pt x="880852" y="925982"/>
                </a:lnTo>
                <a:cubicBezTo>
                  <a:pt x="832199" y="823095"/>
                  <a:pt x="442976" y="1"/>
                  <a:pt x="442976" y="1"/>
                </a:cubicBez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624" b="1">
              <a:noFill/>
            </a:endParaRPr>
          </a:p>
        </p:txBody>
      </p:sp>
      <p:sp>
        <p:nvSpPr>
          <p:cNvPr id="58" name="Free-form: Shape 57">
            <a:extLst>
              <a:ext uri="{FF2B5EF4-FFF2-40B4-BE49-F238E27FC236}">
                <a16:creationId xmlns:a16="http://schemas.microsoft.com/office/drawing/2014/main" id="{358FAFA3-856C-CF17-8001-FFF4AC2A7BB5}"/>
              </a:ext>
            </a:extLst>
          </p:cNvPr>
          <p:cNvSpPr/>
          <p:nvPr userDrawn="1"/>
        </p:nvSpPr>
        <p:spPr>
          <a:xfrm>
            <a:off x="8481328" y="981261"/>
            <a:ext cx="2196506" cy="1460027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624" b="1">
              <a:noFill/>
            </a:endParaRPr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DF617F1A-5E2A-826F-24C7-FBF92E02D629}"/>
              </a:ext>
            </a:extLst>
          </p:cNvPr>
          <p:cNvSpPr/>
          <p:nvPr userDrawn="1"/>
        </p:nvSpPr>
        <p:spPr>
          <a:xfrm>
            <a:off x="11168372" y="8014498"/>
            <a:ext cx="2537531" cy="1688515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624" b="1">
              <a:noFill/>
            </a:endParaRPr>
          </a:p>
        </p:txBody>
      </p:sp>
      <p:sp>
        <p:nvSpPr>
          <p:cNvPr id="62" name="Free-form: Shape 61">
            <a:extLst>
              <a:ext uri="{FF2B5EF4-FFF2-40B4-BE49-F238E27FC236}">
                <a16:creationId xmlns:a16="http://schemas.microsoft.com/office/drawing/2014/main" id="{FF92AA7A-2C80-1E59-C936-ABFC69615300}"/>
              </a:ext>
            </a:extLst>
          </p:cNvPr>
          <p:cNvSpPr/>
          <p:nvPr userDrawn="1"/>
        </p:nvSpPr>
        <p:spPr>
          <a:xfrm>
            <a:off x="12018209" y="8014498"/>
            <a:ext cx="2527452" cy="1684753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624" b="1">
              <a:noFill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D344425-4162-E229-2E19-2924591FFE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787837" y="9905985"/>
            <a:ext cx="892875" cy="561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558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7E5F0D0-1852-1373-EF05-D7B4A6041F22}"/>
              </a:ext>
            </a:extLst>
          </p:cNvPr>
          <p:cNvCxnSpPr/>
          <p:nvPr userDrawn="1"/>
        </p:nvCxnSpPr>
        <p:spPr>
          <a:xfrm>
            <a:off x="13606499" y="10078026"/>
            <a:ext cx="0" cy="242546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98554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775179C6-69B1-0B86-138C-7F7820A4F219}"/>
              </a:ext>
            </a:extLst>
          </p:cNvPr>
          <p:cNvSpPr/>
          <p:nvPr userDrawn="1"/>
        </p:nvSpPr>
        <p:spPr>
          <a:xfrm>
            <a:off x="0" y="981264"/>
            <a:ext cx="15114736" cy="8716995"/>
          </a:xfrm>
          <a:custGeom>
            <a:avLst/>
            <a:gdLst>
              <a:gd name="connsiteX0" fmla="*/ 0 w 8820023"/>
              <a:gd name="connsiteY0" fmla="*/ 0 h 5591302"/>
              <a:gd name="connsiteX1" fmla="*/ 8820023 w 8820023"/>
              <a:gd name="connsiteY1" fmla="*/ 0 h 5591302"/>
              <a:gd name="connsiteX2" fmla="*/ 8820023 w 8820023"/>
              <a:gd name="connsiteY2" fmla="*/ 5591302 h 5591302"/>
              <a:gd name="connsiteX3" fmla="*/ 0 w 8820023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5591302">
                <a:moveTo>
                  <a:pt x="0" y="0"/>
                </a:moveTo>
                <a:lnTo>
                  <a:pt x="8820023" y="0"/>
                </a:lnTo>
                <a:lnTo>
                  <a:pt x="8820023" y="5591302"/>
                </a:lnTo>
                <a:lnTo>
                  <a:pt x="0" y="5591302"/>
                </a:ln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/>
          </a:p>
        </p:txBody>
      </p:sp>
      <p:sp>
        <p:nvSpPr>
          <p:cNvPr id="44" name="Free-form: Shape 43">
            <a:extLst>
              <a:ext uri="{FF2B5EF4-FFF2-40B4-BE49-F238E27FC236}">
                <a16:creationId xmlns:a16="http://schemas.microsoft.com/office/drawing/2014/main" id="{DE084157-4075-0FD5-6E63-97A51B858EB1}"/>
              </a:ext>
            </a:extLst>
          </p:cNvPr>
          <p:cNvSpPr/>
          <p:nvPr userDrawn="1"/>
        </p:nvSpPr>
        <p:spPr>
          <a:xfrm>
            <a:off x="5573587" y="981264"/>
            <a:ext cx="9540939" cy="8717986"/>
          </a:xfrm>
          <a:custGeom>
            <a:avLst/>
            <a:gdLst>
              <a:gd name="connsiteX0" fmla="*/ 2644140 w 5770245"/>
              <a:gd name="connsiteY0" fmla="*/ 0 h 5591937"/>
              <a:gd name="connsiteX1" fmla="*/ 5770245 w 5770245"/>
              <a:gd name="connsiteY1" fmla="*/ 0 h 5591937"/>
              <a:gd name="connsiteX2" fmla="*/ 5770245 w 5770245"/>
              <a:gd name="connsiteY2" fmla="*/ 5591937 h 5591937"/>
              <a:gd name="connsiteX3" fmla="*/ 0 w 5770245"/>
              <a:gd name="connsiteY3" fmla="*/ 5591937 h 559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245" h="5591937">
                <a:moveTo>
                  <a:pt x="2644140" y="0"/>
                </a:moveTo>
                <a:lnTo>
                  <a:pt x="5770245" y="0"/>
                </a:lnTo>
                <a:lnTo>
                  <a:pt x="5770245" y="5591937"/>
                </a:lnTo>
                <a:lnTo>
                  <a:pt x="0" y="559193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AU" sz="2806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478B37A-93E5-3050-AED1-1AE614E5E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3215" y="9905985"/>
            <a:ext cx="7409918" cy="561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558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35" name="Free-form: Shape 34">
            <a:extLst>
              <a:ext uri="{FF2B5EF4-FFF2-40B4-BE49-F238E27FC236}">
                <a16:creationId xmlns:a16="http://schemas.microsoft.com/office/drawing/2014/main" id="{E716590E-9291-B2F9-3AA6-85CA4C91DBB9}"/>
              </a:ext>
            </a:extLst>
          </p:cNvPr>
          <p:cNvSpPr/>
          <p:nvPr userDrawn="1"/>
        </p:nvSpPr>
        <p:spPr>
          <a:xfrm>
            <a:off x="10672796" y="9699051"/>
            <a:ext cx="2185375" cy="987013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/>
          </a:p>
        </p:txBody>
      </p:sp>
      <p:sp>
        <p:nvSpPr>
          <p:cNvPr id="36" name="Free-form: Shape 35">
            <a:extLst>
              <a:ext uri="{FF2B5EF4-FFF2-40B4-BE49-F238E27FC236}">
                <a16:creationId xmlns:a16="http://schemas.microsoft.com/office/drawing/2014/main" id="{4D003B98-C3EA-C7FE-AD96-45DA60D8E705}"/>
              </a:ext>
            </a:extLst>
          </p:cNvPr>
          <p:cNvSpPr/>
          <p:nvPr userDrawn="1"/>
        </p:nvSpPr>
        <p:spPr>
          <a:xfrm>
            <a:off x="9945597" y="-5747"/>
            <a:ext cx="1958165" cy="987011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D57C1E03-A62F-F5AC-8A66-6F45EDC22105}"/>
              </a:ext>
            </a:extLst>
          </p:cNvPr>
          <p:cNvSpPr/>
          <p:nvPr userDrawn="1"/>
        </p:nvSpPr>
        <p:spPr>
          <a:xfrm>
            <a:off x="10677627" y="981264"/>
            <a:ext cx="732238" cy="1460026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CAB36581-B79B-989F-D79E-A149C37E49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98599" y="3784313"/>
            <a:ext cx="6250125" cy="2245000"/>
          </a:xfrm>
        </p:spPr>
        <p:txBody>
          <a:bodyPr/>
          <a:lstStyle>
            <a:lvl1pPr marL="0" indent="0" algn="l">
              <a:buNone/>
              <a:defRPr sz="3585" b="0">
                <a:solidFill>
                  <a:schemeClr val="bg1"/>
                </a:solidFill>
              </a:defRPr>
            </a:lvl1pPr>
            <a:lvl2pPr marL="0" indent="0" algn="l">
              <a:buNone/>
              <a:defRPr sz="3585" b="0">
                <a:solidFill>
                  <a:schemeClr val="accent3"/>
                </a:solidFill>
              </a:defRPr>
            </a:lvl2pPr>
            <a:lvl3pPr marL="0" indent="0" algn="l">
              <a:buNone/>
              <a:defRPr sz="3585" b="0">
                <a:solidFill>
                  <a:schemeClr val="bg1"/>
                </a:solidFill>
              </a:defRPr>
            </a:lvl3pPr>
            <a:lvl4pPr marL="0" indent="0" algn="l">
              <a:buNone/>
              <a:defRPr sz="3585" b="0">
                <a:solidFill>
                  <a:schemeClr val="bg1"/>
                </a:solidFill>
              </a:defRPr>
            </a:lvl4pPr>
            <a:lvl5pPr marL="0" indent="0" algn="l">
              <a:buNone/>
              <a:defRPr sz="3585" b="0">
                <a:solidFill>
                  <a:schemeClr val="bg1"/>
                </a:solidFill>
              </a:defRPr>
            </a:lvl5pPr>
            <a:lvl6pPr marL="0" indent="0" algn="l">
              <a:buNone/>
              <a:defRPr sz="3585" b="0">
                <a:solidFill>
                  <a:schemeClr val="bg1"/>
                </a:solidFill>
              </a:defRPr>
            </a:lvl6pPr>
            <a:lvl7pPr marL="0" indent="0" algn="l">
              <a:buNone/>
              <a:defRPr sz="3585" b="0">
                <a:solidFill>
                  <a:schemeClr val="bg1"/>
                </a:solidFill>
              </a:defRPr>
            </a:lvl7pPr>
            <a:lvl8pPr marL="0" indent="0" algn="l">
              <a:buNone/>
              <a:defRPr sz="3585" b="0">
                <a:solidFill>
                  <a:schemeClr val="bg1"/>
                </a:solidFill>
              </a:defRPr>
            </a:lvl8pPr>
            <a:lvl9pPr marL="0" indent="0" algn="l">
              <a:buNone/>
              <a:defRPr sz="3585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42" name="Title 10">
            <a:extLst>
              <a:ext uri="{FF2B5EF4-FFF2-40B4-BE49-F238E27FC236}">
                <a16:creationId xmlns:a16="http://schemas.microsoft.com/office/drawing/2014/main" id="{2A95F71B-5627-FFA8-5C56-3B3CD5D057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213" y="1968474"/>
            <a:ext cx="6250125" cy="1683750"/>
          </a:xfrm>
        </p:spPr>
        <p:txBody>
          <a:bodyPr anchor="b" anchorCtr="0"/>
          <a:lstStyle>
            <a:lvl1pPr>
              <a:defRPr sz="483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01DA6775-E0B6-7D84-E7B3-F5EA83C07776}"/>
              </a:ext>
            </a:extLst>
          </p:cNvPr>
          <p:cNvSpPr/>
          <p:nvPr userDrawn="1"/>
        </p:nvSpPr>
        <p:spPr>
          <a:xfrm>
            <a:off x="9213360" y="981262"/>
            <a:ext cx="2196715" cy="1460028"/>
          </a:xfrm>
          <a:custGeom>
            <a:avLst/>
            <a:gdLst>
              <a:gd name="connsiteX0" fmla="*/ 885762 w 1328547"/>
              <a:gd name="connsiteY0" fmla="*/ 936365 h 936499"/>
              <a:gd name="connsiteX1" fmla="*/ 885825 w 1328547"/>
              <a:gd name="connsiteY1" fmla="*/ 936499 h 936499"/>
              <a:gd name="connsiteX2" fmla="*/ 885698 w 1328547"/>
              <a:gd name="connsiteY2" fmla="*/ 936499 h 936499"/>
              <a:gd name="connsiteX3" fmla="*/ 442786 w 1328547"/>
              <a:gd name="connsiteY3" fmla="*/ 134 h 936499"/>
              <a:gd name="connsiteX4" fmla="*/ 447696 w 1328547"/>
              <a:gd name="connsiteY4" fmla="*/ 10517 h 936499"/>
              <a:gd name="connsiteX5" fmla="*/ 885571 w 1328547"/>
              <a:gd name="connsiteY5" fmla="*/ 936498 h 936499"/>
              <a:gd name="connsiteX6" fmla="*/ 0 w 1328547"/>
              <a:gd name="connsiteY6" fmla="*/ 936498 h 936499"/>
              <a:gd name="connsiteX7" fmla="*/ 442976 w 1328547"/>
              <a:gd name="connsiteY7" fmla="*/ 1 h 936499"/>
              <a:gd name="connsiteX8" fmla="*/ 1328547 w 1328547"/>
              <a:gd name="connsiteY8" fmla="*/ 1 h 936499"/>
              <a:gd name="connsiteX9" fmla="*/ 885762 w 1328547"/>
              <a:gd name="connsiteY9" fmla="*/ 936365 h 936499"/>
              <a:gd name="connsiteX10" fmla="*/ 880852 w 1328547"/>
              <a:gd name="connsiteY10" fmla="*/ 925982 h 936499"/>
              <a:gd name="connsiteX11" fmla="*/ 442976 w 1328547"/>
              <a:gd name="connsiteY11" fmla="*/ 1 h 936499"/>
              <a:gd name="connsiteX12" fmla="*/ 442722 w 1328547"/>
              <a:gd name="connsiteY12" fmla="*/ 0 h 936499"/>
              <a:gd name="connsiteX13" fmla="*/ 442849 w 1328547"/>
              <a:gd name="connsiteY13" fmla="*/ 0 h 936499"/>
              <a:gd name="connsiteX14" fmla="*/ 442786 w 1328547"/>
              <a:gd name="connsiteY14" fmla="*/ 134 h 936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328547" h="936499">
                <a:moveTo>
                  <a:pt x="885762" y="936365"/>
                </a:moveTo>
                <a:lnTo>
                  <a:pt x="885825" y="936499"/>
                </a:lnTo>
                <a:lnTo>
                  <a:pt x="885698" y="936499"/>
                </a:lnTo>
                <a:close/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976" y="1"/>
                </a:moveTo>
                <a:lnTo>
                  <a:pt x="1328547" y="1"/>
                </a:lnTo>
                <a:lnTo>
                  <a:pt x="885762" y="936365"/>
                </a:lnTo>
                <a:lnTo>
                  <a:pt x="880852" y="925982"/>
                </a:lnTo>
                <a:cubicBezTo>
                  <a:pt x="832199" y="823095"/>
                  <a:pt x="442976" y="1"/>
                  <a:pt x="442976" y="1"/>
                </a:cubicBez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624" b="1">
              <a:noFill/>
            </a:endParaRPr>
          </a:p>
        </p:txBody>
      </p:sp>
      <p:sp>
        <p:nvSpPr>
          <p:cNvPr id="58" name="Free-form: Shape 57">
            <a:extLst>
              <a:ext uri="{FF2B5EF4-FFF2-40B4-BE49-F238E27FC236}">
                <a16:creationId xmlns:a16="http://schemas.microsoft.com/office/drawing/2014/main" id="{358FAFA3-856C-CF17-8001-FFF4AC2A7BB5}"/>
              </a:ext>
            </a:extLst>
          </p:cNvPr>
          <p:cNvSpPr/>
          <p:nvPr userDrawn="1"/>
        </p:nvSpPr>
        <p:spPr>
          <a:xfrm>
            <a:off x="8481328" y="981261"/>
            <a:ext cx="2196506" cy="1460027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624" b="1">
              <a:noFill/>
            </a:endParaRPr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DF617F1A-5E2A-826F-24C7-FBF92E02D629}"/>
              </a:ext>
            </a:extLst>
          </p:cNvPr>
          <p:cNvSpPr/>
          <p:nvPr userDrawn="1"/>
        </p:nvSpPr>
        <p:spPr>
          <a:xfrm>
            <a:off x="11168372" y="8014498"/>
            <a:ext cx="2537531" cy="1688515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accent6">
              <a:alpha val="5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624" b="1">
              <a:noFill/>
            </a:endParaRPr>
          </a:p>
        </p:txBody>
      </p:sp>
      <p:sp>
        <p:nvSpPr>
          <p:cNvPr id="62" name="Free-form: Shape 61">
            <a:extLst>
              <a:ext uri="{FF2B5EF4-FFF2-40B4-BE49-F238E27FC236}">
                <a16:creationId xmlns:a16="http://schemas.microsoft.com/office/drawing/2014/main" id="{FF92AA7A-2C80-1E59-C936-ABFC69615300}"/>
              </a:ext>
            </a:extLst>
          </p:cNvPr>
          <p:cNvSpPr/>
          <p:nvPr userDrawn="1"/>
        </p:nvSpPr>
        <p:spPr>
          <a:xfrm>
            <a:off x="12018209" y="8014498"/>
            <a:ext cx="2527452" cy="1684753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624" b="1">
              <a:noFill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B3127AF-A3C2-5832-887E-D39B115747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787837" y="9905985"/>
            <a:ext cx="892875" cy="561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558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CFDF05C-52EC-6D95-72CD-C8B91309F21D}"/>
              </a:ext>
            </a:extLst>
          </p:cNvPr>
          <p:cNvCxnSpPr/>
          <p:nvPr userDrawn="1"/>
        </p:nvCxnSpPr>
        <p:spPr>
          <a:xfrm>
            <a:off x="13606499" y="10078026"/>
            <a:ext cx="0" cy="242546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90796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DEF600E-A836-4665-A50B-E5BE4AD542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F2443BB-7A97-7B56-A32E-631D8CD62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D4877-A18C-4E62-9946-F942ED83388C}" type="datetime1">
              <a:rPr lang="en-GB" smtClean="0"/>
              <a:t>31/07/2023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726E1DD-AD4E-67B7-C4F6-D1DB9008D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844A66-C3CA-7B88-CD33-C6D0CC2B8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80505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9A80C0-65A9-BC7C-D22E-85EE44CC74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D4877-A18C-4E62-9946-F942ED83388C}" type="datetime1">
              <a:rPr lang="en-GB" smtClean="0"/>
              <a:t>31/07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9D7BD5-0C96-0A6E-631D-DD3B95D28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379D0F-B6EB-9705-927B-79B513BACF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7151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ubtitle 2">
            <a:extLst>
              <a:ext uri="{FF2B5EF4-FFF2-40B4-BE49-F238E27FC236}">
                <a16:creationId xmlns:a16="http://schemas.microsoft.com/office/drawing/2014/main" id="{6B334685-C921-7BF8-BD42-E66D7F73CD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3215" y="869374"/>
            <a:ext cx="7589437" cy="2245000"/>
          </a:xfrm>
        </p:spPr>
        <p:txBody>
          <a:bodyPr/>
          <a:lstStyle>
            <a:lvl1pPr marL="0" indent="0" algn="l">
              <a:buNone/>
              <a:defRPr sz="4832" b="0">
                <a:solidFill>
                  <a:schemeClr val="accent6"/>
                </a:solidFill>
              </a:defRPr>
            </a:lvl1pPr>
            <a:lvl2pPr marL="0" indent="0" algn="l">
              <a:buNone/>
              <a:defRPr sz="3585" b="0">
                <a:solidFill>
                  <a:schemeClr val="accent6"/>
                </a:solidFill>
              </a:defRPr>
            </a:lvl2pPr>
            <a:lvl3pPr marL="0" indent="0" algn="l">
              <a:buNone/>
              <a:defRPr sz="3585" b="0">
                <a:solidFill>
                  <a:schemeClr val="accent6"/>
                </a:solidFill>
              </a:defRPr>
            </a:lvl3pPr>
            <a:lvl4pPr marL="0" indent="0" algn="l">
              <a:buNone/>
              <a:defRPr sz="3585" b="0">
                <a:solidFill>
                  <a:schemeClr val="accent6"/>
                </a:solidFill>
              </a:defRPr>
            </a:lvl4pPr>
            <a:lvl5pPr marL="0" indent="0" algn="l">
              <a:buNone/>
              <a:defRPr sz="3585" b="0">
                <a:solidFill>
                  <a:schemeClr val="accent6"/>
                </a:solidFill>
              </a:defRPr>
            </a:lvl5pPr>
            <a:lvl6pPr marL="0" indent="0" algn="l">
              <a:buNone/>
              <a:defRPr sz="3585" b="0">
                <a:solidFill>
                  <a:schemeClr val="accent6"/>
                </a:solidFill>
              </a:defRPr>
            </a:lvl6pPr>
            <a:lvl7pPr marL="0" indent="0" algn="l">
              <a:buNone/>
              <a:defRPr sz="3585" b="0">
                <a:solidFill>
                  <a:schemeClr val="accent6"/>
                </a:solidFill>
              </a:defRPr>
            </a:lvl7pPr>
            <a:lvl8pPr marL="0" indent="0" algn="l">
              <a:buNone/>
              <a:defRPr sz="3585" b="0">
                <a:solidFill>
                  <a:schemeClr val="accent6"/>
                </a:solidFill>
              </a:defRPr>
            </a:lvl8pPr>
            <a:lvl9pPr marL="0" indent="0" algn="l">
              <a:buNone/>
              <a:defRPr sz="3585" b="0">
                <a:solidFill>
                  <a:schemeClr val="accent6"/>
                </a:solidFill>
              </a:defRPr>
            </a:lvl9pPr>
          </a:lstStyle>
          <a:p>
            <a:r>
              <a:rPr lang="en-AU" dirty="0"/>
              <a:t>Title heading-first level</a:t>
            </a:r>
            <a:endParaRPr lang="en-GB" dirty="0"/>
          </a:p>
          <a:p>
            <a:pPr lvl="1"/>
            <a:r>
              <a:rPr lang="en-US" dirty="0"/>
              <a:t>Subheading-second level</a:t>
            </a:r>
            <a:endParaRPr lang="en-GB" dirty="0"/>
          </a:p>
        </p:txBody>
      </p:sp>
      <p:sp>
        <p:nvSpPr>
          <p:cNvPr id="6" name="Free-form: Shape 5">
            <a:extLst>
              <a:ext uri="{FF2B5EF4-FFF2-40B4-BE49-F238E27FC236}">
                <a16:creationId xmlns:a16="http://schemas.microsoft.com/office/drawing/2014/main" id="{61B08C00-0226-56F5-FDD7-5FA0EF3DB3D2}"/>
              </a:ext>
            </a:extLst>
          </p:cNvPr>
          <p:cNvSpPr/>
          <p:nvPr/>
        </p:nvSpPr>
        <p:spPr>
          <a:xfrm>
            <a:off x="2" y="3482560"/>
            <a:ext cx="15130072" cy="6224263"/>
          </a:xfrm>
          <a:custGeom>
            <a:avLst/>
            <a:gdLst>
              <a:gd name="connsiteX0" fmla="*/ 0 w 8820023"/>
              <a:gd name="connsiteY0" fmla="*/ 0 h 3990721"/>
              <a:gd name="connsiteX1" fmla="*/ 8820023 w 8820023"/>
              <a:gd name="connsiteY1" fmla="*/ 0 h 3990721"/>
              <a:gd name="connsiteX2" fmla="*/ 8820023 w 8820023"/>
              <a:gd name="connsiteY2" fmla="*/ 3990721 h 3990721"/>
              <a:gd name="connsiteX3" fmla="*/ 0 w 8820023"/>
              <a:gd name="connsiteY3" fmla="*/ 3990721 h 3990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3990721">
                <a:moveTo>
                  <a:pt x="0" y="0"/>
                </a:moveTo>
                <a:lnTo>
                  <a:pt x="8820023" y="0"/>
                </a:lnTo>
                <a:lnTo>
                  <a:pt x="8820023" y="3990721"/>
                </a:lnTo>
                <a:lnTo>
                  <a:pt x="0" y="3990721"/>
                </a:lnTo>
                <a:close/>
              </a:path>
            </a:pathLst>
          </a:custGeom>
          <a:solidFill>
            <a:srgbClr val="53565A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>
              <a:solidFill>
                <a:schemeClr val="accent6"/>
              </a:solidFill>
            </a:endParaRPr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1F1CE9E1-B56A-8EC2-7642-3210B9EB7C8C}"/>
              </a:ext>
            </a:extLst>
          </p:cNvPr>
          <p:cNvSpPr/>
          <p:nvPr/>
        </p:nvSpPr>
        <p:spPr>
          <a:xfrm>
            <a:off x="7661741" y="1"/>
            <a:ext cx="4297885" cy="5175828"/>
          </a:xfrm>
          <a:custGeom>
            <a:avLst/>
            <a:gdLst>
              <a:gd name="connsiteX0" fmla="*/ 2599309 w 2599309"/>
              <a:gd name="connsiteY0" fmla="*/ 0 h 3319907"/>
              <a:gd name="connsiteX1" fmla="*/ 1567307 w 2599309"/>
              <a:gd name="connsiteY1" fmla="*/ 0 h 3319907"/>
              <a:gd name="connsiteX2" fmla="*/ 1161923 w 2599309"/>
              <a:gd name="connsiteY2" fmla="*/ 859155 h 3319907"/>
              <a:gd name="connsiteX3" fmla="*/ 1161161 w 2599309"/>
              <a:gd name="connsiteY3" fmla="*/ 859155 h 3319907"/>
              <a:gd name="connsiteX4" fmla="*/ 0 w 2599309"/>
              <a:gd name="connsiteY4" fmla="*/ 3319907 h 3319907"/>
              <a:gd name="connsiteX5" fmla="*/ 1023366 w 2599309"/>
              <a:gd name="connsiteY5" fmla="*/ 3319907 h 3319907"/>
              <a:gd name="connsiteX6" fmla="*/ 2194560 w 2599309"/>
              <a:gd name="connsiteY6" fmla="*/ 859155 h 3319907"/>
              <a:gd name="connsiteX7" fmla="*/ 2190369 w 2599309"/>
              <a:gd name="connsiteY7" fmla="*/ 859155 h 3319907"/>
              <a:gd name="connsiteX8" fmla="*/ 2599309 w 2599309"/>
              <a:gd name="connsiteY8" fmla="*/ 0 h 33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9309" h="3319907">
                <a:moveTo>
                  <a:pt x="2599309" y="0"/>
                </a:moveTo>
                <a:lnTo>
                  <a:pt x="1567307" y="0"/>
                </a:lnTo>
                <a:lnTo>
                  <a:pt x="1161923" y="859155"/>
                </a:lnTo>
                <a:lnTo>
                  <a:pt x="1161161" y="859155"/>
                </a:lnTo>
                <a:lnTo>
                  <a:pt x="0" y="3319907"/>
                </a:lnTo>
                <a:lnTo>
                  <a:pt x="1023366" y="3319907"/>
                </a:lnTo>
                <a:lnTo>
                  <a:pt x="2194560" y="859155"/>
                </a:lnTo>
                <a:lnTo>
                  <a:pt x="2190369" y="859155"/>
                </a:lnTo>
                <a:lnTo>
                  <a:pt x="2599309" y="0"/>
                </a:lnTo>
                <a:close/>
              </a:path>
            </a:pathLst>
          </a:custGeom>
          <a:solidFill>
            <a:srgbClr val="CEDC00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>
              <a:solidFill>
                <a:schemeClr val="accent6"/>
              </a:solidFill>
            </a:endParaRPr>
          </a:p>
        </p:txBody>
      </p:sp>
      <p:sp>
        <p:nvSpPr>
          <p:cNvPr id="9" name="Free-form: Shape 8">
            <a:extLst>
              <a:ext uri="{FF2B5EF4-FFF2-40B4-BE49-F238E27FC236}">
                <a16:creationId xmlns:a16="http://schemas.microsoft.com/office/drawing/2014/main" id="{DCC001F1-4860-1CC5-8CBC-225BC0A9D236}"/>
              </a:ext>
            </a:extLst>
          </p:cNvPr>
          <p:cNvSpPr/>
          <p:nvPr/>
        </p:nvSpPr>
        <p:spPr>
          <a:xfrm>
            <a:off x="8509056" y="3482560"/>
            <a:ext cx="1699455" cy="1693267"/>
          </a:xfrm>
          <a:custGeom>
            <a:avLst/>
            <a:gdLst>
              <a:gd name="connsiteX0" fmla="*/ 510921 w 1027810"/>
              <a:gd name="connsiteY0" fmla="*/ 1086104 h 1086104"/>
              <a:gd name="connsiteX1" fmla="*/ 1027811 w 1027810"/>
              <a:gd name="connsiteY1" fmla="*/ 0 h 1086104"/>
              <a:gd name="connsiteX2" fmla="*/ 0 w 1027810"/>
              <a:gd name="connsiteY2" fmla="*/ 0 h 1086104"/>
              <a:gd name="connsiteX3" fmla="*/ 510921 w 1027810"/>
              <a:gd name="connsiteY3" fmla="*/ 1086104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7810" h="1086104">
                <a:moveTo>
                  <a:pt x="510921" y="1086104"/>
                </a:moveTo>
                <a:lnTo>
                  <a:pt x="1027811" y="0"/>
                </a:lnTo>
                <a:lnTo>
                  <a:pt x="0" y="0"/>
                </a:lnTo>
                <a:cubicBezTo>
                  <a:pt x="0" y="0"/>
                  <a:pt x="510921" y="1086104"/>
                  <a:pt x="510921" y="1086104"/>
                </a:cubicBezTo>
                <a:close/>
              </a:path>
            </a:pathLst>
          </a:custGeom>
          <a:solidFill>
            <a:srgbClr val="FFFFFF">
              <a:alpha val="3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>
              <a:solidFill>
                <a:schemeClr val="accent6"/>
              </a:solidFill>
            </a:endParaRPr>
          </a:p>
        </p:txBody>
      </p:sp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A5B08A13-0E33-5FD8-469F-81F11D14C908}"/>
              </a:ext>
            </a:extLst>
          </p:cNvPr>
          <p:cNvSpPr/>
          <p:nvPr/>
        </p:nvSpPr>
        <p:spPr>
          <a:xfrm>
            <a:off x="6816949" y="3482560"/>
            <a:ext cx="2536901" cy="1693267"/>
          </a:xfrm>
          <a:custGeom>
            <a:avLst/>
            <a:gdLst>
              <a:gd name="connsiteX0" fmla="*/ 1534287 w 1534287"/>
              <a:gd name="connsiteY0" fmla="*/ 1086104 h 1086104"/>
              <a:gd name="connsiteX1" fmla="*/ 1023366 w 1534287"/>
              <a:gd name="connsiteY1" fmla="*/ 0 h 1086104"/>
              <a:gd name="connsiteX2" fmla="*/ 0 w 1534287"/>
              <a:gd name="connsiteY2" fmla="*/ 0 h 1086104"/>
              <a:gd name="connsiteX3" fmla="*/ 510921 w 1534287"/>
              <a:gd name="connsiteY3" fmla="*/ 1086104 h 1086104"/>
              <a:gd name="connsiteX4" fmla="*/ 1534287 w 1534287"/>
              <a:gd name="connsiteY4" fmla="*/ 1086104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4287" h="1086104">
                <a:moveTo>
                  <a:pt x="1534287" y="1086104"/>
                </a:moveTo>
                <a:lnTo>
                  <a:pt x="1023366" y="0"/>
                </a:lnTo>
                <a:lnTo>
                  <a:pt x="0" y="0"/>
                </a:lnTo>
                <a:cubicBezTo>
                  <a:pt x="0" y="0"/>
                  <a:pt x="510921" y="1086104"/>
                  <a:pt x="510921" y="1086104"/>
                </a:cubicBezTo>
                <a:lnTo>
                  <a:pt x="1534287" y="1086104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>
              <a:solidFill>
                <a:schemeClr val="accent6"/>
              </a:solidFill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E9193096-0970-2A9D-D1E9-19E1B557CC8D}"/>
              </a:ext>
            </a:extLst>
          </p:cNvPr>
          <p:cNvSpPr/>
          <p:nvPr/>
        </p:nvSpPr>
        <p:spPr>
          <a:xfrm>
            <a:off x="9168846" y="7549805"/>
            <a:ext cx="3549478" cy="2763834"/>
          </a:xfrm>
          <a:custGeom>
            <a:avLst/>
            <a:gdLst>
              <a:gd name="connsiteX0" fmla="*/ 841629 w 2146681"/>
              <a:gd name="connsiteY0" fmla="*/ 0 h 1772793"/>
              <a:gd name="connsiteX1" fmla="*/ 185674 w 2146681"/>
              <a:gd name="connsiteY1" fmla="*/ 1381887 h 1772793"/>
              <a:gd name="connsiteX2" fmla="*/ 185674 w 2146681"/>
              <a:gd name="connsiteY2" fmla="*/ 1381887 h 1772793"/>
              <a:gd name="connsiteX3" fmla="*/ 0 w 2146681"/>
              <a:gd name="connsiteY3" fmla="*/ 1772793 h 1772793"/>
              <a:gd name="connsiteX4" fmla="*/ 1305814 w 2146681"/>
              <a:gd name="connsiteY4" fmla="*/ 1772793 h 1772793"/>
              <a:gd name="connsiteX5" fmla="*/ 1491107 w 2146681"/>
              <a:gd name="connsiteY5" fmla="*/ 1381887 h 1772793"/>
              <a:gd name="connsiteX6" fmla="*/ 2146681 w 2146681"/>
              <a:gd name="connsiteY6" fmla="*/ 0 h 1772793"/>
              <a:gd name="connsiteX7" fmla="*/ 841629 w 2146681"/>
              <a:gd name="connsiteY7" fmla="*/ 0 h 1772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46681" h="1772793">
                <a:moveTo>
                  <a:pt x="841629" y="0"/>
                </a:moveTo>
                <a:lnTo>
                  <a:pt x="185674" y="1381887"/>
                </a:lnTo>
                <a:lnTo>
                  <a:pt x="185674" y="1381887"/>
                </a:lnTo>
                <a:lnTo>
                  <a:pt x="0" y="1772793"/>
                </a:lnTo>
                <a:lnTo>
                  <a:pt x="1305814" y="1772793"/>
                </a:lnTo>
                <a:lnTo>
                  <a:pt x="1491107" y="1381887"/>
                </a:lnTo>
                <a:lnTo>
                  <a:pt x="2146681" y="0"/>
                </a:lnTo>
                <a:lnTo>
                  <a:pt x="841629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>
              <a:solidFill>
                <a:schemeClr val="accent6"/>
              </a:solidFill>
            </a:endParaRPr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F401E06B-775A-30BB-3913-21352C520CFE}"/>
              </a:ext>
            </a:extLst>
          </p:cNvPr>
          <p:cNvSpPr/>
          <p:nvPr/>
        </p:nvSpPr>
        <p:spPr>
          <a:xfrm>
            <a:off x="9475856" y="7549806"/>
            <a:ext cx="2158497" cy="2154398"/>
          </a:xfrm>
          <a:custGeom>
            <a:avLst/>
            <a:gdLst>
              <a:gd name="connsiteX0" fmla="*/ 655955 w 1305433"/>
              <a:gd name="connsiteY0" fmla="*/ 0 h 1381886"/>
              <a:gd name="connsiteX1" fmla="*/ 0 w 1305433"/>
              <a:gd name="connsiteY1" fmla="*/ 1381887 h 1381886"/>
              <a:gd name="connsiteX2" fmla="*/ 1305433 w 1305433"/>
              <a:gd name="connsiteY2" fmla="*/ 1381887 h 1381886"/>
              <a:gd name="connsiteX3" fmla="*/ 655955 w 1305433"/>
              <a:gd name="connsiteY3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05433" h="1381886">
                <a:moveTo>
                  <a:pt x="655955" y="0"/>
                </a:moveTo>
                <a:lnTo>
                  <a:pt x="0" y="1381887"/>
                </a:lnTo>
                <a:lnTo>
                  <a:pt x="1305433" y="1381887"/>
                </a:lnTo>
                <a:lnTo>
                  <a:pt x="655955" y="0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>
              <a:solidFill>
                <a:schemeClr val="accent6"/>
              </a:solidFill>
            </a:endParaRPr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4A622ED0-B24F-3B6E-F173-57D708F0907F}"/>
              </a:ext>
            </a:extLst>
          </p:cNvPr>
          <p:cNvSpPr/>
          <p:nvPr/>
        </p:nvSpPr>
        <p:spPr>
          <a:xfrm>
            <a:off x="10560459" y="7549806"/>
            <a:ext cx="3231761" cy="2154398"/>
          </a:xfrm>
          <a:custGeom>
            <a:avLst/>
            <a:gdLst>
              <a:gd name="connsiteX0" fmla="*/ 0 w 1954530"/>
              <a:gd name="connsiteY0" fmla="*/ 0 h 1381886"/>
              <a:gd name="connsiteX1" fmla="*/ 649478 w 1954530"/>
              <a:gd name="connsiteY1" fmla="*/ 1381887 h 1381886"/>
              <a:gd name="connsiteX2" fmla="*/ 1954530 w 1954530"/>
              <a:gd name="connsiteY2" fmla="*/ 1381887 h 1381886"/>
              <a:gd name="connsiteX3" fmla="*/ 1305052 w 1954530"/>
              <a:gd name="connsiteY3" fmla="*/ 0 h 1381886"/>
              <a:gd name="connsiteX4" fmla="*/ 0 w 1954530"/>
              <a:gd name="connsiteY4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530" h="1381886">
                <a:moveTo>
                  <a:pt x="0" y="0"/>
                </a:moveTo>
                <a:lnTo>
                  <a:pt x="649478" y="1381887"/>
                </a:lnTo>
                <a:lnTo>
                  <a:pt x="1954530" y="1381887"/>
                </a:lnTo>
                <a:cubicBezTo>
                  <a:pt x="1954530" y="1381887"/>
                  <a:pt x="1305052" y="0"/>
                  <a:pt x="130505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3200">
              <a:solidFill>
                <a:schemeClr val="accent6"/>
              </a:solidFill>
            </a:endParaRPr>
          </a:p>
        </p:txBody>
      </p:sp>
      <p:sp>
        <p:nvSpPr>
          <p:cNvPr id="19" name="Free-form: Shape 18">
            <a:extLst>
              <a:ext uri="{FF2B5EF4-FFF2-40B4-BE49-F238E27FC236}">
                <a16:creationId xmlns:a16="http://schemas.microsoft.com/office/drawing/2014/main" id="{08AA25C4-22B1-CB03-84BA-7BD988A74B2E}"/>
              </a:ext>
            </a:extLst>
          </p:cNvPr>
          <p:cNvSpPr/>
          <p:nvPr/>
        </p:nvSpPr>
        <p:spPr>
          <a:xfrm>
            <a:off x="8979855" y="9704205"/>
            <a:ext cx="2654496" cy="987607"/>
          </a:xfrm>
          <a:custGeom>
            <a:avLst/>
            <a:gdLst>
              <a:gd name="connsiteX0" fmla="*/ 1605407 w 1605407"/>
              <a:gd name="connsiteY0" fmla="*/ 0 h 633476"/>
              <a:gd name="connsiteX1" fmla="*/ 299974 w 1605407"/>
              <a:gd name="connsiteY1" fmla="*/ 0 h 633476"/>
              <a:gd name="connsiteX2" fmla="*/ 114300 w 1605407"/>
              <a:gd name="connsiteY2" fmla="*/ 390906 h 633476"/>
              <a:gd name="connsiteX3" fmla="*/ 115189 w 1605407"/>
              <a:gd name="connsiteY3" fmla="*/ 390906 h 633476"/>
              <a:gd name="connsiteX4" fmla="*/ 0 w 1605407"/>
              <a:gd name="connsiteY4" fmla="*/ 633476 h 633476"/>
              <a:gd name="connsiteX5" fmla="*/ 1305814 w 1605407"/>
              <a:gd name="connsiteY5" fmla="*/ 633476 h 633476"/>
              <a:gd name="connsiteX6" fmla="*/ 1490472 w 1605407"/>
              <a:gd name="connsiteY6" fmla="*/ 243713 h 633476"/>
              <a:gd name="connsiteX7" fmla="*/ 1489837 w 1605407"/>
              <a:gd name="connsiteY7" fmla="*/ 243713 h 633476"/>
              <a:gd name="connsiteX8" fmla="*/ 1605407 w 1605407"/>
              <a:gd name="connsiteY8" fmla="*/ 0 h 63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5407" h="633476">
                <a:moveTo>
                  <a:pt x="1605407" y="0"/>
                </a:moveTo>
                <a:lnTo>
                  <a:pt x="299974" y="0"/>
                </a:lnTo>
                <a:lnTo>
                  <a:pt x="114300" y="390906"/>
                </a:lnTo>
                <a:lnTo>
                  <a:pt x="115189" y="390906"/>
                </a:lnTo>
                <a:lnTo>
                  <a:pt x="0" y="633476"/>
                </a:lnTo>
                <a:lnTo>
                  <a:pt x="1305814" y="633476"/>
                </a:lnTo>
                <a:lnTo>
                  <a:pt x="1490472" y="243713"/>
                </a:lnTo>
                <a:lnTo>
                  <a:pt x="1489837" y="243713"/>
                </a:lnTo>
                <a:lnTo>
                  <a:pt x="1605407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>
              <a:solidFill>
                <a:schemeClr val="accent6"/>
              </a:solidFill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1028729-A80B-CFBD-7F6F-30AE340985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747096" y="1410570"/>
            <a:ext cx="2773779" cy="803254"/>
          </a:xfrm>
          <a:prstGeom prst="rect">
            <a:avLst/>
          </a:prstGeom>
        </p:spPr>
      </p:pic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033E79D6-E595-ECEE-10ED-A5E97240EF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EB24A637-B2FA-CB5F-8581-6598E9C59D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0F89C6-5D9B-55DA-9539-83F396DFFBA1}"/>
              </a:ext>
            </a:extLst>
          </p:cNvPr>
          <p:cNvCxnSpPr/>
          <p:nvPr userDrawn="1"/>
        </p:nvCxnSpPr>
        <p:spPr>
          <a:xfrm>
            <a:off x="13606499" y="10078026"/>
            <a:ext cx="0" cy="242546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6410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A13DD76C-B0DF-5844-46E8-ACA7008494DC}"/>
              </a:ext>
            </a:extLst>
          </p:cNvPr>
          <p:cNvSpPr/>
          <p:nvPr userDrawn="1"/>
        </p:nvSpPr>
        <p:spPr>
          <a:xfrm>
            <a:off x="7661741" y="1"/>
            <a:ext cx="4297885" cy="5175828"/>
          </a:xfrm>
          <a:custGeom>
            <a:avLst/>
            <a:gdLst>
              <a:gd name="connsiteX0" fmla="*/ 2599309 w 2599309"/>
              <a:gd name="connsiteY0" fmla="*/ 0 h 3319907"/>
              <a:gd name="connsiteX1" fmla="*/ 1567307 w 2599309"/>
              <a:gd name="connsiteY1" fmla="*/ 0 h 3319907"/>
              <a:gd name="connsiteX2" fmla="*/ 1161923 w 2599309"/>
              <a:gd name="connsiteY2" fmla="*/ 859155 h 3319907"/>
              <a:gd name="connsiteX3" fmla="*/ 1161161 w 2599309"/>
              <a:gd name="connsiteY3" fmla="*/ 859155 h 3319907"/>
              <a:gd name="connsiteX4" fmla="*/ 0 w 2599309"/>
              <a:gd name="connsiteY4" fmla="*/ 3319907 h 3319907"/>
              <a:gd name="connsiteX5" fmla="*/ 1023366 w 2599309"/>
              <a:gd name="connsiteY5" fmla="*/ 3319907 h 3319907"/>
              <a:gd name="connsiteX6" fmla="*/ 2194560 w 2599309"/>
              <a:gd name="connsiteY6" fmla="*/ 859155 h 3319907"/>
              <a:gd name="connsiteX7" fmla="*/ 2190369 w 2599309"/>
              <a:gd name="connsiteY7" fmla="*/ 859155 h 3319907"/>
              <a:gd name="connsiteX8" fmla="*/ 2599309 w 2599309"/>
              <a:gd name="connsiteY8" fmla="*/ 0 h 33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9309" h="3319907">
                <a:moveTo>
                  <a:pt x="2599309" y="0"/>
                </a:moveTo>
                <a:lnTo>
                  <a:pt x="1567307" y="0"/>
                </a:lnTo>
                <a:lnTo>
                  <a:pt x="1161923" y="859155"/>
                </a:lnTo>
                <a:lnTo>
                  <a:pt x="1161161" y="859155"/>
                </a:lnTo>
                <a:lnTo>
                  <a:pt x="0" y="3319907"/>
                </a:lnTo>
                <a:lnTo>
                  <a:pt x="1023366" y="3319907"/>
                </a:lnTo>
                <a:lnTo>
                  <a:pt x="2194560" y="859155"/>
                </a:lnTo>
                <a:lnTo>
                  <a:pt x="2190369" y="859155"/>
                </a:lnTo>
                <a:lnTo>
                  <a:pt x="2599309" y="0"/>
                </a:lnTo>
                <a:close/>
              </a:path>
            </a:pathLst>
          </a:custGeom>
          <a:solidFill>
            <a:srgbClr val="CEDC00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38" name="Free-form: Shape 37">
            <a:extLst>
              <a:ext uri="{FF2B5EF4-FFF2-40B4-BE49-F238E27FC236}">
                <a16:creationId xmlns:a16="http://schemas.microsoft.com/office/drawing/2014/main" id="{2DCABD5A-B67F-F174-BA18-01F969DC1B68}"/>
              </a:ext>
            </a:extLst>
          </p:cNvPr>
          <p:cNvSpPr/>
          <p:nvPr/>
        </p:nvSpPr>
        <p:spPr>
          <a:xfrm>
            <a:off x="6807873" y="3482560"/>
            <a:ext cx="8311476" cy="6224265"/>
          </a:xfrm>
          <a:custGeom>
            <a:avLst/>
            <a:gdLst>
              <a:gd name="connsiteX0" fmla="*/ 0 w 5026680"/>
              <a:gd name="connsiteY0" fmla="*/ 0 h 3992401"/>
              <a:gd name="connsiteX1" fmla="*/ 5026680 w 5026680"/>
              <a:gd name="connsiteY1" fmla="*/ 0 h 3992401"/>
              <a:gd name="connsiteX2" fmla="*/ 5026680 w 5026680"/>
              <a:gd name="connsiteY2" fmla="*/ 3992401 h 3992401"/>
              <a:gd name="connsiteX3" fmla="*/ 2920561 w 5026680"/>
              <a:gd name="connsiteY3" fmla="*/ 3992401 h 3992401"/>
              <a:gd name="connsiteX4" fmla="*/ 1025695 w 5026680"/>
              <a:gd name="connsiteY4" fmla="*/ 10950 h 3992401"/>
              <a:gd name="connsiteX5" fmla="*/ 4897 w 5026680"/>
              <a:gd name="connsiteY5" fmla="*/ 10820 h 3992401"/>
              <a:gd name="connsiteX6" fmla="*/ 0 w 5026680"/>
              <a:gd name="connsiteY6" fmla="*/ 0 h 399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26680" h="3992401">
                <a:moveTo>
                  <a:pt x="0" y="0"/>
                </a:moveTo>
                <a:lnTo>
                  <a:pt x="5026680" y="0"/>
                </a:lnTo>
                <a:lnTo>
                  <a:pt x="5026680" y="3992401"/>
                </a:lnTo>
                <a:lnTo>
                  <a:pt x="2920561" y="3992401"/>
                </a:lnTo>
                <a:lnTo>
                  <a:pt x="1025695" y="10950"/>
                </a:lnTo>
                <a:lnTo>
                  <a:pt x="4897" y="1082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4757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5B925039-3386-9DB3-1F58-4C26FF27836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" y="3482560"/>
            <a:ext cx="11644848" cy="6223888"/>
          </a:xfrm>
          <a:custGeom>
            <a:avLst/>
            <a:gdLst>
              <a:gd name="connsiteX0" fmla="*/ 0 w 7042663"/>
              <a:gd name="connsiteY0" fmla="*/ 0 h 3992160"/>
              <a:gd name="connsiteX1" fmla="*/ 5143014 w 7042663"/>
              <a:gd name="connsiteY1" fmla="*/ 658 h 3992160"/>
              <a:gd name="connsiteX2" fmla="*/ 7042663 w 7042663"/>
              <a:gd name="connsiteY2" fmla="*/ 3992160 h 3992160"/>
              <a:gd name="connsiteX3" fmla="*/ 0 w 7042663"/>
              <a:gd name="connsiteY3" fmla="*/ 3992160 h 399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2663" h="3992160">
                <a:moveTo>
                  <a:pt x="0" y="0"/>
                </a:moveTo>
                <a:lnTo>
                  <a:pt x="5143014" y="658"/>
                </a:lnTo>
                <a:lnTo>
                  <a:pt x="7042663" y="3992160"/>
                </a:lnTo>
                <a:lnTo>
                  <a:pt x="0" y="399216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504000" tIns="288000" rIns="3600000" bIns="360000" anchor="t" anchorCtr="0">
            <a:noAutofit/>
          </a:bodyPr>
          <a:lstStyle>
            <a:lvl1pPr algn="l">
              <a:defRPr sz="2182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6B334685-C921-7BF8-BD42-E66D7F73CD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3215" y="869374"/>
            <a:ext cx="7589437" cy="2245000"/>
          </a:xfrm>
        </p:spPr>
        <p:txBody>
          <a:bodyPr/>
          <a:lstStyle>
            <a:lvl1pPr marL="0" indent="0" algn="l">
              <a:buNone/>
              <a:defRPr sz="4832" b="0">
                <a:solidFill>
                  <a:schemeClr val="accent6"/>
                </a:solidFill>
              </a:defRPr>
            </a:lvl1pPr>
            <a:lvl2pPr marL="0" indent="0" algn="l">
              <a:buNone/>
              <a:defRPr sz="3585" b="0">
                <a:solidFill>
                  <a:schemeClr val="accent6"/>
                </a:solidFill>
              </a:defRPr>
            </a:lvl2pPr>
            <a:lvl3pPr marL="0" indent="0" algn="l">
              <a:buNone/>
              <a:defRPr sz="3585" b="0">
                <a:solidFill>
                  <a:schemeClr val="accent6"/>
                </a:solidFill>
              </a:defRPr>
            </a:lvl3pPr>
            <a:lvl4pPr marL="0" indent="0" algn="l">
              <a:buNone/>
              <a:defRPr sz="3585" b="0">
                <a:solidFill>
                  <a:schemeClr val="accent6"/>
                </a:solidFill>
              </a:defRPr>
            </a:lvl4pPr>
            <a:lvl5pPr marL="0" indent="0" algn="l">
              <a:buNone/>
              <a:defRPr sz="3585" b="0">
                <a:solidFill>
                  <a:schemeClr val="accent6"/>
                </a:solidFill>
              </a:defRPr>
            </a:lvl5pPr>
            <a:lvl6pPr marL="0" indent="0" algn="l">
              <a:buNone/>
              <a:defRPr sz="3585" b="0">
                <a:solidFill>
                  <a:schemeClr val="accent6"/>
                </a:solidFill>
              </a:defRPr>
            </a:lvl6pPr>
            <a:lvl7pPr marL="0" indent="0" algn="l">
              <a:buNone/>
              <a:defRPr sz="3585" b="0">
                <a:solidFill>
                  <a:schemeClr val="accent6"/>
                </a:solidFill>
              </a:defRPr>
            </a:lvl7pPr>
            <a:lvl8pPr marL="0" indent="0" algn="l">
              <a:buNone/>
              <a:defRPr sz="3585" b="0">
                <a:solidFill>
                  <a:schemeClr val="accent6"/>
                </a:solidFill>
              </a:defRPr>
            </a:lvl8pPr>
            <a:lvl9pPr marL="0" indent="0" algn="l">
              <a:buNone/>
              <a:defRPr sz="3585" b="0">
                <a:solidFill>
                  <a:schemeClr val="accent6"/>
                </a:solidFill>
              </a:defRPr>
            </a:lvl9pPr>
          </a:lstStyle>
          <a:p>
            <a:r>
              <a:rPr lang="en-AU" dirty="0"/>
              <a:t>Title heading-first level</a:t>
            </a:r>
            <a:endParaRPr lang="en-GB" dirty="0"/>
          </a:p>
          <a:p>
            <a:pPr lvl="1"/>
            <a:r>
              <a:rPr lang="en-US" dirty="0"/>
              <a:t>Subheading-second level</a:t>
            </a:r>
            <a:endParaRPr lang="en-GB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8BBBDA6-519A-05D0-4F6B-24B47AD172E0}"/>
              </a:ext>
            </a:extLst>
          </p:cNvPr>
          <p:cNvCxnSpPr/>
          <p:nvPr userDrawn="1"/>
        </p:nvCxnSpPr>
        <p:spPr>
          <a:xfrm>
            <a:off x="13606499" y="10078026"/>
            <a:ext cx="0" cy="242546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8CF85D78-FC0B-F4EA-1EF4-C857106FD948}"/>
              </a:ext>
            </a:extLst>
          </p:cNvPr>
          <p:cNvSpPr/>
          <p:nvPr userDrawn="1"/>
        </p:nvSpPr>
        <p:spPr>
          <a:xfrm>
            <a:off x="8979855" y="9704205"/>
            <a:ext cx="2654496" cy="987607"/>
          </a:xfrm>
          <a:custGeom>
            <a:avLst/>
            <a:gdLst>
              <a:gd name="connsiteX0" fmla="*/ 1605407 w 1605407"/>
              <a:gd name="connsiteY0" fmla="*/ 0 h 633476"/>
              <a:gd name="connsiteX1" fmla="*/ 299974 w 1605407"/>
              <a:gd name="connsiteY1" fmla="*/ 0 h 633476"/>
              <a:gd name="connsiteX2" fmla="*/ 114300 w 1605407"/>
              <a:gd name="connsiteY2" fmla="*/ 390906 h 633476"/>
              <a:gd name="connsiteX3" fmla="*/ 115189 w 1605407"/>
              <a:gd name="connsiteY3" fmla="*/ 390906 h 633476"/>
              <a:gd name="connsiteX4" fmla="*/ 0 w 1605407"/>
              <a:gd name="connsiteY4" fmla="*/ 633476 h 633476"/>
              <a:gd name="connsiteX5" fmla="*/ 1305814 w 1605407"/>
              <a:gd name="connsiteY5" fmla="*/ 633476 h 633476"/>
              <a:gd name="connsiteX6" fmla="*/ 1490472 w 1605407"/>
              <a:gd name="connsiteY6" fmla="*/ 243713 h 633476"/>
              <a:gd name="connsiteX7" fmla="*/ 1489837 w 1605407"/>
              <a:gd name="connsiteY7" fmla="*/ 243713 h 633476"/>
              <a:gd name="connsiteX8" fmla="*/ 1605407 w 1605407"/>
              <a:gd name="connsiteY8" fmla="*/ 0 h 63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5407" h="633476">
                <a:moveTo>
                  <a:pt x="1605407" y="0"/>
                </a:moveTo>
                <a:lnTo>
                  <a:pt x="299974" y="0"/>
                </a:lnTo>
                <a:lnTo>
                  <a:pt x="114300" y="390906"/>
                </a:lnTo>
                <a:lnTo>
                  <a:pt x="115189" y="390906"/>
                </a:lnTo>
                <a:lnTo>
                  <a:pt x="0" y="633476"/>
                </a:lnTo>
                <a:lnTo>
                  <a:pt x="1305814" y="633476"/>
                </a:lnTo>
                <a:lnTo>
                  <a:pt x="1490472" y="243713"/>
                </a:lnTo>
                <a:lnTo>
                  <a:pt x="1489837" y="243713"/>
                </a:lnTo>
                <a:lnTo>
                  <a:pt x="1605407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F67C86E-C469-E935-8F6B-B956C4B551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747096" y="1410570"/>
            <a:ext cx="2773779" cy="803254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D4EB4A5-D3CA-B552-1419-ADCF6DC9E32A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9475856" y="7549806"/>
            <a:ext cx="2158497" cy="2154401"/>
          </a:xfrm>
          <a:custGeom>
            <a:avLst/>
            <a:gdLst>
              <a:gd name="connsiteX0" fmla="*/ 655955 w 1305433"/>
              <a:gd name="connsiteY0" fmla="*/ 0 h 1381887"/>
              <a:gd name="connsiteX1" fmla="*/ 1305433 w 1305433"/>
              <a:gd name="connsiteY1" fmla="*/ 1381887 h 1381887"/>
              <a:gd name="connsiteX2" fmla="*/ 0 w 1305433"/>
              <a:gd name="connsiteY2" fmla="*/ 1381887 h 138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5433" h="1381887">
                <a:moveTo>
                  <a:pt x="655955" y="0"/>
                </a:moveTo>
                <a:lnTo>
                  <a:pt x="1305433" y="1381887"/>
                </a:lnTo>
                <a:lnTo>
                  <a:pt x="0" y="1381887"/>
                </a:lnTo>
                <a:close/>
              </a:path>
            </a:pathLst>
          </a:custGeom>
          <a:solidFill>
            <a:schemeClr val="tx2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6351E1D-0587-2E7B-55B8-06B2E8737F98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10560458" y="7549804"/>
            <a:ext cx="2158694" cy="2155200"/>
          </a:xfrm>
          <a:custGeom>
            <a:avLst/>
            <a:gdLst>
              <a:gd name="connsiteX0" fmla="*/ 0 w 2119820"/>
              <a:gd name="connsiteY0" fmla="*/ 0 h 2244597"/>
              <a:gd name="connsiteX1" fmla="*/ 2119757 w 2119820"/>
              <a:gd name="connsiteY1" fmla="*/ 0 h 2244597"/>
              <a:gd name="connsiteX2" fmla="*/ 2119820 w 2119820"/>
              <a:gd name="connsiteY2" fmla="*/ 135 h 2244597"/>
              <a:gd name="connsiteX3" fmla="*/ 1054953 w 2119820"/>
              <a:gd name="connsiteY3" fmla="*/ 2244597 h 2244597"/>
              <a:gd name="connsiteX4" fmla="*/ 1054925 w 2119820"/>
              <a:gd name="connsiteY4" fmla="*/ 2244597 h 224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19820" h="2244597">
                <a:moveTo>
                  <a:pt x="0" y="0"/>
                </a:moveTo>
                <a:lnTo>
                  <a:pt x="2119757" y="0"/>
                </a:lnTo>
                <a:lnTo>
                  <a:pt x="2119820" y="135"/>
                </a:lnTo>
                <a:lnTo>
                  <a:pt x="1054953" y="2244597"/>
                </a:lnTo>
                <a:lnTo>
                  <a:pt x="1054925" y="224459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2C71BA1-4727-3A94-C697-2772234AF9F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816949" y="3482560"/>
            <a:ext cx="2536901" cy="1693267"/>
          </a:xfrm>
          <a:custGeom>
            <a:avLst/>
            <a:gdLst>
              <a:gd name="connsiteX0" fmla="*/ 0 w 1534287"/>
              <a:gd name="connsiteY0" fmla="*/ 0 h 1086104"/>
              <a:gd name="connsiteX1" fmla="*/ 1023366 w 1534287"/>
              <a:gd name="connsiteY1" fmla="*/ 0 h 1086104"/>
              <a:gd name="connsiteX2" fmla="*/ 1534287 w 1534287"/>
              <a:gd name="connsiteY2" fmla="*/ 1086104 h 1086104"/>
              <a:gd name="connsiteX3" fmla="*/ 510921 w 1534287"/>
              <a:gd name="connsiteY3" fmla="*/ 1086104 h 1086104"/>
              <a:gd name="connsiteX4" fmla="*/ 0 w 1534287"/>
              <a:gd name="connsiteY4" fmla="*/ 0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4287" h="1086104">
                <a:moveTo>
                  <a:pt x="0" y="0"/>
                </a:moveTo>
                <a:lnTo>
                  <a:pt x="1023366" y="0"/>
                </a:lnTo>
                <a:lnTo>
                  <a:pt x="1534287" y="1086104"/>
                </a:lnTo>
                <a:lnTo>
                  <a:pt x="510921" y="1086104"/>
                </a:lnTo>
                <a:cubicBezTo>
                  <a:pt x="510921" y="1086104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D8F58367-9BE9-C43F-398C-868E3E4B9FF4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661742" y="3482560"/>
            <a:ext cx="1701180" cy="1694976"/>
          </a:xfrm>
          <a:custGeom>
            <a:avLst/>
            <a:gdLst>
              <a:gd name="connsiteX0" fmla="*/ 835659 w 1661668"/>
              <a:gd name="connsiteY0" fmla="*/ 0 h 1755902"/>
              <a:gd name="connsiteX1" fmla="*/ 1661668 w 1661668"/>
              <a:gd name="connsiteY1" fmla="*/ 1755902 h 1755902"/>
              <a:gd name="connsiteX2" fmla="*/ 0 w 1661668"/>
              <a:gd name="connsiteY2" fmla="*/ 1755902 h 1755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61668" h="1755902">
                <a:moveTo>
                  <a:pt x="835659" y="0"/>
                </a:moveTo>
                <a:cubicBezTo>
                  <a:pt x="835659" y="0"/>
                  <a:pt x="1661668" y="1755902"/>
                  <a:pt x="1661668" y="1755902"/>
                </a:cubicBezTo>
                <a:lnTo>
                  <a:pt x="0" y="1755902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8FE88D8-DD84-A127-C179-33FF11FEAF6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560456" y="7549806"/>
            <a:ext cx="3231761" cy="2154401"/>
          </a:xfrm>
          <a:custGeom>
            <a:avLst/>
            <a:gdLst>
              <a:gd name="connsiteX0" fmla="*/ 0 w 1954530"/>
              <a:gd name="connsiteY0" fmla="*/ 0 h 1381887"/>
              <a:gd name="connsiteX1" fmla="*/ 1305052 w 1954530"/>
              <a:gd name="connsiteY1" fmla="*/ 0 h 1381887"/>
              <a:gd name="connsiteX2" fmla="*/ 1954530 w 1954530"/>
              <a:gd name="connsiteY2" fmla="*/ 1381887 h 1381887"/>
              <a:gd name="connsiteX3" fmla="*/ 649478 w 1954530"/>
              <a:gd name="connsiteY3" fmla="*/ 1381887 h 138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4530" h="1381887">
                <a:moveTo>
                  <a:pt x="0" y="0"/>
                </a:moveTo>
                <a:lnTo>
                  <a:pt x="1305052" y="0"/>
                </a:lnTo>
                <a:cubicBezTo>
                  <a:pt x="1305052" y="0"/>
                  <a:pt x="1954530" y="1381887"/>
                  <a:pt x="1954530" y="1381887"/>
                </a:cubicBezTo>
                <a:lnTo>
                  <a:pt x="649478" y="1381887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2" name="Free-form: Shape 41">
            <a:extLst>
              <a:ext uri="{FF2B5EF4-FFF2-40B4-BE49-F238E27FC236}">
                <a16:creationId xmlns:a16="http://schemas.microsoft.com/office/drawing/2014/main" id="{3FD0863A-B744-BA87-F617-4BBA1966EEB8}"/>
              </a:ext>
            </a:extLst>
          </p:cNvPr>
          <p:cNvSpPr/>
          <p:nvPr userDrawn="1"/>
        </p:nvSpPr>
        <p:spPr>
          <a:xfrm>
            <a:off x="8507331" y="3482560"/>
            <a:ext cx="1701180" cy="1694976"/>
          </a:xfrm>
          <a:custGeom>
            <a:avLst/>
            <a:gdLst>
              <a:gd name="connsiteX0" fmla="*/ 0 w 1028853"/>
              <a:gd name="connsiteY0" fmla="*/ 0 h 1087200"/>
              <a:gd name="connsiteX1" fmla="*/ 1028853 w 1028853"/>
              <a:gd name="connsiteY1" fmla="*/ 0 h 1087200"/>
              <a:gd name="connsiteX2" fmla="*/ 511439 w 1028853"/>
              <a:gd name="connsiteY2" fmla="*/ 1087200 h 1087200"/>
              <a:gd name="connsiteX3" fmla="*/ 0 w 1028853"/>
              <a:gd name="connsiteY3" fmla="*/ 0 h 108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8853" h="1087200">
                <a:moveTo>
                  <a:pt x="0" y="0"/>
                </a:moveTo>
                <a:lnTo>
                  <a:pt x="1028853" y="0"/>
                </a:lnTo>
                <a:lnTo>
                  <a:pt x="511439" y="1087200"/>
                </a:lnTo>
                <a:cubicBezTo>
                  <a:pt x="511439" y="1087200"/>
                  <a:pt x="0" y="0"/>
                  <a:pt x="0" y="0"/>
                </a:cubicBezTo>
                <a:close/>
              </a:path>
            </a:pathLst>
          </a:custGeom>
          <a:solidFill>
            <a:srgbClr val="CEDC00">
              <a:alpha val="66000"/>
            </a:srgbClr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48" name="Footer Placeholder 47">
            <a:extLst>
              <a:ext uri="{FF2B5EF4-FFF2-40B4-BE49-F238E27FC236}">
                <a16:creationId xmlns:a16="http://schemas.microsoft.com/office/drawing/2014/main" id="{3B780439-4CEB-319E-36A6-2245E0E90D8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E12E50E5-2AB4-40F8-DB59-DD28CB45376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32585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full wid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-form: Shape 19">
            <a:extLst>
              <a:ext uri="{FF2B5EF4-FFF2-40B4-BE49-F238E27FC236}">
                <a16:creationId xmlns:a16="http://schemas.microsoft.com/office/drawing/2014/main" id="{660CC324-D8B6-FA03-A350-EA9CC846ABF1}"/>
              </a:ext>
            </a:extLst>
          </p:cNvPr>
          <p:cNvSpPr/>
          <p:nvPr userDrawn="1"/>
        </p:nvSpPr>
        <p:spPr>
          <a:xfrm>
            <a:off x="7661741" y="1"/>
            <a:ext cx="4297885" cy="5175828"/>
          </a:xfrm>
          <a:custGeom>
            <a:avLst/>
            <a:gdLst>
              <a:gd name="connsiteX0" fmla="*/ 2599309 w 2599309"/>
              <a:gd name="connsiteY0" fmla="*/ 0 h 3319907"/>
              <a:gd name="connsiteX1" fmla="*/ 1567307 w 2599309"/>
              <a:gd name="connsiteY1" fmla="*/ 0 h 3319907"/>
              <a:gd name="connsiteX2" fmla="*/ 1161923 w 2599309"/>
              <a:gd name="connsiteY2" fmla="*/ 859155 h 3319907"/>
              <a:gd name="connsiteX3" fmla="*/ 1161161 w 2599309"/>
              <a:gd name="connsiteY3" fmla="*/ 859155 h 3319907"/>
              <a:gd name="connsiteX4" fmla="*/ 0 w 2599309"/>
              <a:gd name="connsiteY4" fmla="*/ 3319907 h 3319907"/>
              <a:gd name="connsiteX5" fmla="*/ 1023366 w 2599309"/>
              <a:gd name="connsiteY5" fmla="*/ 3319907 h 3319907"/>
              <a:gd name="connsiteX6" fmla="*/ 2194560 w 2599309"/>
              <a:gd name="connsiteY6" fmla="*/ 859155 h 3319907"/>
              <a:gd name="connsiteX7" fmla="*/ 2190369 w 2599309"/>
              <a:gd name="connsiteY7" fmla="*/ 859155 h 3319907"/>
              <a:gd name="connsiteX8" fmla="*/ 2599309 w 2599309"/>
              <a:gd name="connsiteY8" fmla="*/ 0 h 33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9309" h="3319907">
                <a:moveTo>
                  <a:pt x="2599309" y="0"/>
                </a:moveTo>
                <a:lnTo>
                  <a:pt x="1567307" y="0"/>
                </a:lnTo>
                <a:lnTo>
                  <a:pt x="1161923" y="859155"/>
                </a:lnTo>
                <a:lnTo>
                  <a:pt x="1161161" y="859155"/>
                </a:lnTo>
                <a:lnTo>
                  <a:pt x="0" y="3319907"/>
                </a:lnTo>
                <a:lnTo>
                  <a:pt x="1023366" y="3319907"/>
                </a:lnTo>
                <a:lnTo>
                  <a:pt x="2194560" y="859155"/>
                </a:lnTo>
                <a:lnTo>
                  <a:pt x="2190369" y="859155"/>
                </a:lnTo>
                <a:lnTo>
                  <a:pt x="2599309" y="0"/>
                </a:lnTo>
                <a:close/>
              </a:path>
            </a:pathLst>
          </a:custGeom>
          <a:solidFill>
            <a:srgbClr val="CEDC00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sp>
        <p:nvSpPr>
          <p:cNvPr id="61" name="Picture Placeholder 60">
            <a:extLst>
              <a:ext uri="{FF2B5EF4-FFF2-40B4-BE49-F238E27FC236}">
                <a16:creationId xmlns:a16="http://schemas.microsoft.com/office/drawing/2014/main" id="{BB41F336-5118-C5C9-E8E5-6A5CCDE66F5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82012"/>
            <a:ext cx="15131489" cy="622426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504000" tIns="288000" rIns="5760000" bIns="360000" anchor="t" anchorCtr="0">
            <a:noAutofit/>
          </a:bodyPr>
          <a:lstStyle>
            <a:lvl1pPr algn="l">
              <a:defRPr sz="2182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6B334685-C921-7BF8-BD42-E66D7F73CD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03215" y="869374"/>
            <a:ext cx="7589437" cy="2245000"/>
          </a:xfrm>
        </p:spPr>
        <p:txBody>
          <a:bodyPr/>
          <a:lstStyle>
            <a:lvl1pPr marL="0" indent="0" algn="l">
              <a:buNone/>
              <a:defRPr sz="4832" b="0">
                <a:solidFill>
                  <a:schemeClr val="accent6"/>
                </a:solidFill>
              </a:defRPr>
            </a:lvl1pPr>
            <a:lvl2pPr marL="0" indent="0" algn="l">
              <a:buNone/>
              <a:defRPr sz="3585" b="0">
                <a:solidFill>
                  <a:schemeClr val="accent6"/>
                </a:solidFill>
              </a:defRPr>
            </a:lvl2pPr>
            <a:lvl3pPr marL="0" indent="0" algn="l">
              <a:buNone/>
              <a:defRPr sz="3585" b="0">
                <a:solidFill>
                  <a:schemeClr val="accent6"/>
                </a:solidFill>
              </a:defRPr>
            </a:lvl3pPr>
            <a:lvl4pPr marL="0" indent="0" algn="l">
              <a:buNone/>
              <a:defRPr sz="3585" b="0">
                <a:solidFill>
                  <a:schemeClr val="accent6"/>
                </a:solidFill>
              </a:defRPr>
            </a:lvl4pPr>
            <a:lvl5pPr marL="0" indent="0" algn="l">
              <a:buNone/>
              <a:defRPr sz="3585" b="0">
                <a:solidFill>
                  <a:schemeClr val="accent6"/>
                </a:solidFill>
              </a:defRPr>
            </a:lvl5pPr>
            <a:lvl6pPr marL="0" indent="0" algn="l">
              <a:buNone/>
              <a:defRPr sz="3585" b="0">
                <a:solidFill>
                  <a:schemeClr val="accent6"/>
                </a:solidFill>
              </a:defRPr>
            </a:lvl6pPr>
            <a:lvl7pPr marL="0" indent="0" algn="l">
              <a:buNone/>
              <a:defRPr sz="3585" b="0">
                <a:solidFill>
                  <a:schemeClr val="accent6"/>
                </a:solidFill>
              </a:defRPr>
            </a:lvl7pPr>
            <a:lvl8pPr marL="0" indent="0" algn="l">
              <a:buNone/>
              <a:defRPr sz="3585" b="0">
                <a:solidFill>
                  <a:schemeClr val="accent6"/>
                </a:solidFill>
              </a:defRPr>
            </a:lvl8pPr>
            <a:lvl9pPr marL="0" indent="0" algn="l">
              <a:buNone/>
              <a:defRPr sz="3585" b="0">
                <a:solidFill>
                  <a:schemeClr val="accent6"/>
                </a:solidFill>
              </a:defRPr>
            </a:lvl9pPr>
          </a:lstStyle>
          <a:p>
            <a:r>
              <a:rPr lang="en-AU" dirty="0"/>
              <a:t>Title heading-first level</a:t>
            </a:r>
            <a:endParaRPr lang="en-GB" dirty="0"/>
          </a:p>
          <a:p>
            <a:pPr lvl="1"/>
            <a:r>
              <a:rPr lang="en-US" dirty="0"/>
              <a:t>Subheading-second level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1E872F9-2264-1A70-83DD-6A9D9E266E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9AE11B7-4DF9-5F56-C639-44F49C6B67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E7A27014-865C-F1D4-CAF7-08476B875D17}"/>
              </a:ext>
            </a:extLst>
          </p:cNvPr>
          <p:cNvSpPr/>
          <p:nvPr userDrawn="1"/>
        </p:nvSpPr>
        <p:spPr>
          <a:xfrm>
            <a:off x="8979855" y="9704205"/>
            <a:ext cx="2654496" cy="987607"/>
          </a:xfrm>
          <a:custGeom>
            <a:avLst/>
            <a:gdLst>
              <a:gd name="connsiteX0" fmla="*/ 1605407 w 1605407"/>
              <a:gd name="connsiteY0" fmla="*/ 0 h 633476"/>
              <a:gd name="connsiteX1" fmla="*/ 299974 w 1605407"/>
              <a:gd name="connsiteY1" fmla="*/ 0 h 633476"/>
              <a:gd name="connsiteX2" fmla="*/ 114300 w 1605407"/>
              <a:gd name="connsiteY2" fmla="*/ 390906 h 633476"/>
              <a:gd name="connsiteX3" fmla="*/ 115189 w 1605407"/>
              <a:gd name="connsiteY3" fmla="*/ 390906 h 633476"/>
              <a:gd name="connsiteX4" fmla="*/ 0 w 1605407"/>
              <a:gd name="connsiteY4" fmla="*/ 633476 h 633476"/>
              <a:gd name="connsiteX5" fmla="*/ 1305814 w 1605407"/>
              <a:gd name="connsiteY5" fmla="*/ 633476 h 633476"/>
              <a:gd name="connsiteX6" fmla="*/ 1490472 w 1605407"/>
              <a:gd name="connsiteY6" fmla="*/ 243713 h 633476"/>
              <a:gd name="connsiteX7" fmla="*/ 1489837 w 1605407"/>
              <a:gd name="connsiteY7" fmla="*/ 243713 h 633476"/>
              <a:gd name="connsiteX8" fmla="*/ 1605407 w 1605407"/>
              <a:gd name="connsiteY8" fmla="*/ 0 h 63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5407" h="633476">
                <a:moveTo>
                  <a:pt x="1605407" y="0"/>
                </a:moveTo>
                <a:lnTo>
                  <a:pt x="299974" y="0"/>
                </a:lnTo>
                <a:lnTo>
                  <a:pt x="114300" y="390906"/>
                </a:lnTo>
                <a:lnTo>
                  <a:pt x="115189" y="390906"/>
                </a:lnTo>
                <a:lnTo>
                  <a:pt x="0" y="633476"/>
                </a:lnTo>
                <a:lnTo>
                  <a:pt x="1305814" y="633476"/>
                </a:lnTo>
                <a:lnTo>
                  <a:pt x="1490472" y="243713"/>
                </a:lnTo>
                <a:lnTo>
                  <a:pt x="1489837" y="243713"/>
                </a:lnTo>
                <a:lnTo>
                  <a:pt x="1605407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320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A7A3D40-02AD-DBB9-335F-21278C945676}"/>
              </a:ext>
            </a:extLst>
          </p:cNvPr>
          <p:cNvCxnSpPr/>
          <p:nvPr userDrawn="1"/>
        </p:nvCxnSpPr>
        <p:spPr>
          <a:xfrm>
            <a:off x="13606499" y="10078026"/>
            <a:ext cx="0" cy="242546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phic 25">
            <a:extLst>
              <a:ext uri="{FF2B5EF4-FFF2-40B4-BE49-F238E27FC236}">
                <a16:creationId xmlns:a16="http://schemas.microsoft.com/office/drawing/2014/main" id="{3D3D7C47-BE68-07DE-DF7D-956176BFA7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747096" y="1410570"/>
            <a:ext cx="2773779" cy="803254"/>
          </a:xfrm>
          <a:prstGeom prst="rect">
            <a:avLst/>
          </a:prstGeom>
        </p:spPr>
      </p:pic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CFB86533-F1A5-7166-E415-5B35F9186D90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9475856" y="7549806"/>
            <a:ext cx="2158497" cy="2154401"/>
          </a:xfrm>
          <a:custGeom>
            <a:avLst/>
            <a:gdLst>
              <a:gd name="connsiteX0" fmla="*/ 655955 w 1305433"/>
              <a:gd name="connsiteY0" fmla="*/ 0 h 1381887"/>
              <a:gd name="connsiteX1" fmla="*/ 1305433 w 1305433"/>
              <a:gd name="connsiteY1" fmla="*/ 1381887 h 1381887"/>
              <a:gd name="connsiteX2" fmla="*/ 0 w 1305433"/>
              <a:gd name="connsiteY2" fmla="*/ 1381887 h 138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5433" h="1381887">
                <a:moveTo>
                  <a:pt x="655955" y="0"/>
                </a:moveTo>
                <a:lnTo>
                  <a:pt x="1305433" y="1381887"/>
                </a:lnTo>
                <a:lnTo>
                  <a:pt x="0" y="1381887"/>
                </a:lnTo>
                <a:close/>
              </a:path>
            </a:pathLst>
          </a:custGeom>
          <a:solidFill>
            <a:schemeClr val="tx2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8EBBF75-4777-D465-98BA-F612C441DE8E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10560458" y="7549804"/>
            <a:ext cx="2158694" cy="2155200"/>
          </a:xfrm>
          <a:custGeom>
            <a:avLst/>
            <a:gdLst>
              <a:gd name="connsiteX0" fmla="*/ 0 w 2119820"/>
              <a:gd name="connsiteY0" fmla="*/ 0 h 2244597"/>
              <a:gd name="connsiteX1" fmla="*/ 2119757 w 2119820"/>
              <a:gd name="connsiteY1" fmla="*/ 0 h 2244597"/>
              <a:gd name="connsiteX2" fmla="*/ 2119820 w 2119820"/>
              <a:gd name="connsiteY2" fmla="*/ 135 h 2244597"/>
              <a:gd name="connsiteX3" fmla="*/ 1054953 w 2119820"/>
              <a:gd name="connsiteY3" fmla="*/ 2244597 h 2244597"/>
              <a:gd name="connsiteX4" fmla="*/ 1054925 w 2119820"/>
              <a:gd name="connsiteY4" fmla="*/ 2244597 h 224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19820" h="2244597">
                <a:moveTo>
                  <a:pt x="0" y="0"/>
                </a:moveTo>
                <a:lnTo>
                  <a:pt x="2119757" y="0"/>
                </a:lnTo>
                <a:lnTo>
                  <a:pt x="2119820" y="135"/>
                </a:lnTo>
                <a:lnTo>
                  <a:pt x="1054953" y="2244597"/>
                </a:lnTo>
                <a:lnTo>
                  <a:pt x="1054925" y="224459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5797021D-985E-0973-26CF-15DF51748122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8507331" y="3482013"/>
            <a:ext cx="1701180" cy="1694976"/>
          </a:xfrm>
          <a:custGeom>
            <a:avLst/>
            <a:gdLst>
              <a:gd name="connsiteX0" fmla="*/ 0 w 1661668"/>
              <a:gd name="connsiteY0" fmla="*/ 0 h 1755902"/>
              <a:gd name="connsiteX1" fmla="*/ 1661668 w 1661668"/>
              <a:gd name="connsiteY1" fmla="*/ 0 h 1755902"/>
              <a:gd name="connsiteX2" fmla="*/ 826009 w 1661668"/>
              <a:gd name="connsiteY2" fmla="*/ 1755902 h 1755902"/>
              <a:gd name="connsiteX3" fmla="*/ 0 w 1661668"/>
              <a:gd name="connsiteY3" fmla="*/ 0 h 1755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1668" h="1755902">
                <a:moveTo>
                  <a:pt x="0" y="0"/>
                </a:moveTo>
                <a:lnTo>
                  <a:pt x="1661668" y="0"/>
                </a:lnTo>
                <a:lnTo>
                  <a:pt x="826009" y="1755902"/>
                </a:lnTo>
                <a:cubicBezTo>
                  <a:pt x="826009" y="1755902"/>
                  <a:pt x="0" y="0"/>
                  <a:pt x="0" y="0"/>
                </a:cubicBez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EB2E7923-7ED8-1CD8-94BA-243F169D2D8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816949" y="3482013"/>
            <a:ext cx="2536901" cy="1693267"/>
          </a:xfrm>
          <a:custGeom>
            <a:avLst/>
            <a:gdLst>
              <a:gd name="connsiteX0" fmla="*/ 0 w 1534287"/>
              <a:gd name="connsiteY0" fmla="*/ 0 h 1086104"/>
              <a:gd name="connsiteX1" fmla="*/ 1023366 w 1534287"/>
              <a:gd name="connsiteY1" fmla="*/ 0 h 1086104"/>
              <a:gd name="connsiteX2" fmla="*/ 1534287 w 1534287"/>
              <a:gd name="connsiteY2" fmla="*/ 1086104 h 1086104"/>
              <a:gd name="connsiteX3" fmla="*/ 510921 w 1534287"/>
              <a:gd name="connsiteY3" fmla="*/ 1086104 h 1086104"/>
              <a:gd name="connsiteX4" fmla="*/ 0 w 1534287"/>
              <a:gd name="connsiteY4" fmla="*/ 0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4287" h="1086104">
                <a:moveTo>
                  <a:pt x="0" y="0"/>
                </a:moveTo>
                <a:lnTo>
                  <a:pt x="1023366" y="0"/>
                </a:lnTo>
                <a:lnTo>
                  <a:pt x="1534287" y="1086104"/>
                </a:lnTo>
                <a:lnTo>
                  <a:pt x="510921" y="1086104"/>
                </a:lnTo>
                <a:cubicBezTo>
                  <a:pt x="510921" y="1086104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5" name="Text Placeholder 24">
            <a:extLst>
              <a:ext uri="{FF2B5EF4-FFF2-40B4-BE49-F238E27FC236}">
                <a16:creationId xmlns:a16="http://schemas.microsoft.com/office/drawing/2014/main" id="{022B79C5-62BF-CA09-6885-DE822CF41B7A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7661742" y="3482013"/>
            <a:ext cx="1701180" cy="1694976"/>
          </a:xfrm>
          <a:custGeom>
            <a:avLst/>
            <a:gdLst>
              <a:gd name="connsiteX0" fmla="*/ 835659 w 1661668"/>
              <a:gd name="connsiteY0" fmla="*/ 0 h 1755902"/>
              <a:gd name="connsiteX1" fmla="*/ 1661668 w 1661668"/>
              <a:gd name="connsiteY1" fmla="*/ 1755902 h 1755902"/>
              <a:gd name="connsiteX2" fmla="*/ 0 w 1661668"/>
              <a:gd name="connsiteY2" fmla="*/ 1755902 h 1755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61668" h="1755902">
                <a:moveTo>
                  <a:pt x="835659" y="0"/>
                </a:moveTo>
                <a:cubicBezTo>
                  <a:pt x="835659" y="0"/>
                  <a:pt x="1661668" y="1755902"/>
                  <a:pt x="1661668" y="1755902"/>
                </a:cubicBezTo>
                <a:lnTo>
                  <a:pt x="0" y="1755902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6599D0EC-660D-FC34-6C21-DA20DC3AEAB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560456" y="7549806"/>
            <a:ext cx="3231761" cy="2154401"/>
          </a:xfrm>
          <a:custGeom>
            <a:avLst/>
            <a:gdLst>
              <a:gd name="connsiteX0" fmla="*/ 0 w 1954530"/>
              <a:gd name="connsiteY0" fmla="*/ 0 h 1381887"/>
              <a:gd name="connsiteX1" fmla="*/ 1305052 w 1954530"/>
              <a:gd name="connsiteY1" fmla="*/ 0 h 1381887"/>
              <a:gd name="connsiteX2" fmla="*/ 1954530 w 1954530"/>
              <a:gd name="connsiteY2" fmla="*/ 1381887 h 1381887"/>
              <a:gd name="connsiteX3" fmla="*/ 649478 w 1954530"/>
              <a:gd name="connsiteY3" fmla="*/ 1381887 h 138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4530" h="1381887">
                <a:moveTo>
                  <a:pt x="0" y="0"/>
                </a:moveTo>
                <a:lnTo>
                  <a:pt x="1305052" y="0"/>
                </a:lnTo>
                <a:cubicBezTo>
                  <a:pt x="1305052" y="0"/>
                  <a:pt x="1954530" y="1381887"/>
                  <a:pt x="1954530" y="1381887"/>
                </a:cubicBezTo>
                <a:lnTo>
                  <a:pt x="649478" y="1381887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36540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F60952-EFEB-073A-2890-058D4ABDFE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2030417"/>
              </p:ext>
            </p:extLst>
          </p:nvPr>
        </p:nvGraphicFramePr>
        <p:xfrm>
          <a:off x="2245" y="2246"/>
          <a:ext cx="2246" cy="22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F60952-EFEB-073A-2890-058D4ABDFE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45" y="2246"/>
                        <a:ext cx="2246" cy="22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90448248-0EB9-324F-5283-E3BF1DCAAEC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213" y="2846200"/>
            <a:ext cx="11607376" cy="61737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, or click on one of the central icons to add a table, chart, SmartArt, image or media. Press the ‘Increase/Decrease’ button under the Home tab to move through the text styles.</a:t>
            </a:r>
            <a:endParaRPr lang="en-US" dirty="0"/>
          </a:p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0854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03213" y="2846200"/>
            <a:ext cx="5357250" cy="61737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This slide can be used for two text boxes, or text and: chart, SmartArt, image or table.</a:t>
            </a:r>
          </a:p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53339" y="2846200"/>
            <a:ext cx="5357250" cy="61737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7A1DEDE-6AEA-86E9-4E33-2C1EA515B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472334-F3BF-4941-B066-A9089F7890EF}" type="datetime1">
              <a:rPr lang="en-GB" smtClean="0"/>
              <a:t>31/07/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2BBABFD-F4F5-2DE9-E006-D11D24911A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07799FD-E5BC-A43F-4E9E-C3BC17F3C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8806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90448248-0EB9-324F-5283-E3BF1DCAAEC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213" y="3688074"/>
            <a:ext cx="11607376" cy="533187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Select one of the central icons to add a table, chart, SmartArt, image or media</a:t>
            </a:r>
            <a:endParaRPr lang="en-US" dirty="0"/>
          </a:p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6105EC4C-205A-AE42-AC77-45023A8CB0A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95440ED-8C89-4301-B204-2D326E26EA6F}" type="datetime1">
              <a:rPr lang="en-GB" smtClean="0"/>
              <a:t>31/07/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B0B0CA08-E061-255E-37AD-C77C63384A7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310BF31-A4C3-377B-AEC6-33F3A1A293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2EE1AF-A60C-0DAE-29BA-0F1D2FBF76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3213" y="2553415"/>
            <a:ext cx="11607376" cy="8418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654065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DFAE338-542F-062A-113E-84D5DEAC9297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011154" y="2235933"/>
            <a:ext cx="7099177" cy="7470064"/>
          </a:xfrm>
          <a:custGeom>
            <a:avLst/>
            <a:gdLst>
              <a:gd name="connsiteX0" fmla="*/ 2272483 w 4293496"/>
              <a:gd name="connsiteY0" fmla="*/ 0 h 4791489"/>
              <a:gd name="connsiteX1" fmla="*/ 4293496 w 4293496"/>
              <a:gd name="connsiteY1" fmla="*/ 0 h 4791489"/>
              <a:gd name="connsiteX2" fmla="*/ 4293496 w 4293496"/>
              <a:gd name="connsiteY2" fmla="*/ 4791489 h 4791489"/>
              <a:gd name="connsiteX3" fmla="*/ 0 w 4293496"/>
              <a:gd name="connsiteY3" fmla="*/ 4791489 h 4791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93496" h="4791489">
                <a:moveTo>
                  <a:pt x="2272483" y="0"/>
                </a:moveTo>
                <a:lnTo>
                  <a:pt x="4293496" y="0"/>
                </a:lnTo>
                <a:lnTo>
                  <a:pt x="4293496" y="4791489"/>
                </a:lnTo>
                <a:lnTo>
                  <a:pt x="0" y="479148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2520000" tIns="288000" rIns="360000" bIns="360000" anchor="t" anchorCtr="0">
            <a:noAutofit/>
          </a:bodyPr>
          <a:lstStyle>
            <a:lvl1pPr algn="r">
              <a:defRPr sz="2182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399DAD4-A874-4EAB-AB3C-820568E6E7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3212" y="2846200"/>
            <a:ext cx="9821625" cy="61737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4EBA4A-B347-103C-AA7B-74A81B6E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12" y="599396"/>
            <a:ext cx="9821625" cy="11225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B49C342-B9AA-BE4C-DBA6-A414FD6F66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3291766" y="6085433"/>
            <a:ext cx="1818565" cy="3620562"/>
          </a:xfrm>
          <a:custGeom>
            <a:avLst/>
            <a:gdLst>
              <a:gd name="connsiteX0" fmla="*/ 1099846 w 1099846"/>
              <a:gd name="connsiteY0" fmla="*/ 0 h 2322320"/>
              <a:gd name="connsiteX1" fmla="*/ 1099846 w 1099846"/>
              <a:gd name="connsiteY1" fmla="*/ 2322320 h 2322320"/>
              <a:gd name="connsiteX2" fmla="*/ 0 w 1099846"/>
              <a:gd name="connsiteY2" fmla="*/ 2322320 h 2322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9846" h="2322320">
                <a:moveTo>
                  <a:pt x="1099846" y="0"/>
                </a:moveTo>
                <a:lnTo>
                  <a:pt x="1099846" y="2322320"/>
                </a:lnTo>
                <a:lnTo>
                  <a:pt x="0" y="232232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9" name="Date Placeholder 38">
            <a:extLst>
              <a:ext uri="{FF2B5EF4-FFF2-40B4-BE49-F238E27FC236}">
                <a16:creationId xmlns:a16="http://schemas.microsoft.com/office/drawing/2014/main" id="{F698BA25-4BD0-67D4-7C71-C0E01B8EC81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20A0E56-D0C5-4B3E-813B-A90A31A1DAA6}" type="datetime1">
              <a:rPr lang="en-GB" smtClean="0"/>
              <a:t>31/07/2023</a:t>
            </a:fld>
            <a:endParaRPr lang="en-GB" dirty="0"/>
          </a:p>
        </p:txBody>
      </p: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9C50C287-886F-8EE0-566B-F65B7FD7A54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ECB20DFD-4DFE-0F76-52E2-4F336B547E1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1877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4F04595-8F0F-9159-49EE-2EF24C129E8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" y="2235933"/>
            <a:ext cx="15119350" cy="74553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648000" tIns="288000" rIns="4320000" bIns="360000" anchor="t" anchorCtr="0">
            <a:noAutofit/>
          </a:bodyPr>
          <a:lstStyle>
            <a:lvl1pPr algn="l">
              <a:defRPr sz="2182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4EBA4A-B347-103C-AA7B-74A81B6E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213" y="599396"/>
            <a:ext cx="6250125" cy="11225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9D1A89-6D04-E6B7-642A-FC4A5D65F2F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C048CFF-D5A4-4BED-AD1A-14E8D2CBA798}" type="datetime1">
              <a:rPr lang="en-GB" smtClean="0"/>
              <a:pPr/>
              <a:t>31/07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F0ACF10-A8A1-158D-77C0-F1470495E0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DED0C4-FEDA-7F07-651E-81D65BEE7C9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C391D5-CDF7-2EA7-BE15-53AD611FD5D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11154" y="2235933"/>
            <a:ext cx="7099177" cy="7470064"/>
          </a:xfrm>
          <a:custGeom>
            <a:avLst/>
            <a:gdLst>
              <a:gd name="connsiteX0" fmla="*/ 2272483 w 4293496"/>
              <a:gd name="connsiteY0" fmla="*/ 0 h 4791489"/>
              <a:gd name="connsiteX1" fmla="*/ 4293496 w 4293496"/>
              <a:gd name="connsiteY1" fmla="*/ 0 h 4791489"/>
              <a:gd name="connsiteX2" fmla="*/ 4293496 w 4293496"/>
              <a:gd name="connsiteY2" fmla="*/ 4791489 h 4791489"/>
              <a:gd name="connsiteX3" fmla="*/ 0 w 4293496"/>
              <a:gd name="connsiteY3" fmla="*/ 4791489 h 4791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93496" h="4791489">
                <a:moveTo>
                  <a:pt x="2272483" y="0"/>
                </a:moveTo>
                <a:lnTo>
                  <a:pt x="4293496" y="0"/>
                </a:lnTo>
                <a:lnTo>
                  <a:pt x="4293496" y="4791489"/>
                </a:lnTo>
                <a:lnTo>
                  <a:pt x="0" y="4791489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624">
                <a:noFill/>
              </a:defRPr>
            </a:lvl1pPr>
            <a:lvl2pPr marL="0" indent="0">
              <a:spcBef>
                <a:spcPts val="0"/>
              </a:spcBef>
              <a:buNone/>
              <a:defRPr sz="624">
                <a:noFill/>
              </a:defRPr>
            </a:lvl2pPr>
            <a:lvl3pPr marL="0" indent="0">
              <a:spcBef>
                <a:spcPts val="0"/>
              </a:spcBef>
              <a:buNone/>
              <a:defRPr sz="624">
                <a:noFill/>
              </a:defRPr>
            </a:lvl3pPr>
            <a:lvl4pPr>
              <a:spcBef>
                <a:spcPts val="0"/>
              </a:spcBef>
              <a:defRPr sz="624" b="0">
                <a:noFill/>
              </a:defRPr>
            </a:lvl4pPr>
            <a:lvl5pPr>
              <a:spcBef>
                <a:spcPts val="0"/>
              </a:spcBef>
              <a:defRPr sz="624">
                <a:noFill/>
              </a:defRPr>
            </a:lvl5pPr>
            <a:lvl6pPr>
              <a:spcBef>
                <a:spcPts val="0"/>
              </a:spcBef>
              <a:defRPr sz="624">
                <a:noFill/>
              </a:defRPr>
            </a:lvl6pPr>
            <a:lvl7pPr>
              <a:spcBef>
                <a:spcPts val="0"/>
              </a:spcBef>
              <a:defRPr sz="624">
                <a:noFill/>
              </a:defRPr>
            </a:lvl7pPr>
            <a:lvl8pPr>
              <a:spcBef>
                <a:spcPts val="0"/>
              </a:spcBef>
              <a:defRPr sz="624">
                <a:noFill/>
              </a:defRPr>
            </a:lvl8pPr>
            <a:lvl9pPr>
              <a:spcBef>
                <a:spcPts val="0"/>
              </a:spcBef>
              <a:defRPr sz="624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011047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7AD34C0-2B69-0CD4-3E46-603BBC6C5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485461282"/>
              </p:ext>
            </p:extLst>
          </p:nvPr>
        </p:nvGraphicFramePr>
        <p:xfrm>
          <a:off x="2627" y="2477"/>
          <a:ext cx="2626" cy="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28" imgH="328" progId="TCLayout.ActiveDocument.1">
                  <p:embed/>
                </p:oleObj>
              </mc:Choice>
              <mc:Fallback>
                <p:oleObj name="think-cell Slide" r:id="rId19" imgW="328" imgH="32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7AD34C0-2B69-0CD4-3E46-603BBC6C5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627" y="2477"/>
                        <a:ext cx="2626" cy="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05C398A1-36E1-ABDA-06B9-0B898FD4D1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1"/>
            <a:ext cx="15119352" cy="1625984"/>
            <a:chOff x="-5755979" y="1"/>
            <a:chExt cx="20875331" cy="2245000"/>
          </a:xfrm>
        </p:grpSpPr>
        <p:sp>
          <p:nvSpPr>
            <p:cNvPr id="38" name="Free-form: Shape 37">
              <a:extLst>
                <a:ext uri="{FF2B5EF4-FFF2-40B4-BE49-F238E27FC236}">
                  <a16:creationId xmlns:a16="http://schemas.microsoft.com/office/drawing/2014/main" id="{DEE5F1F6-308B-BAE5-E04C-67ACD64873A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 userDrawn="1"/>
          </p:nvSpPr>
          <p:spPr>
            <a:xfrm>
              <a:off x="-5755979" y="1"/>
              <a:ext cx="20875330" cy="2245000"/>
            </a:xfrm>
            <a:custGeom>
              <a:avLst/>
              <a:gdLst>
                <a:gd name="connsiteX0" fmla="*/ 0 w 12192000"/>
                <a:gd name="connsiteY0" fmla="*/ 0 h 1270000"/>
                <a:gd name="connsiteX1" fmla="*/ 12192000 w 12192000"/>
                <a:gd name="connsiteY1" fmla="*/ 0 h 1270000"/>
                <a:gd name="connsiteX2" fmla="*/ 12192000 w 12192000"/>
                <a:gd name="connsiteY2" fmla="*/ 1270000 h 1270000"/>
                <a:gd name="connsiteX3" fmla="*/ 0 w 121920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92000" h="1270000">
                  <a:moveTo>
                    <a:pt x="0" y="0"/>
                  </a:moveTo>
                  <a:lnTo>
                    <a:pt x="12192000" y="0"/>
                  </a:lnTo>
                  <a:lnTo>
                    <a:pt x="12192000" y="1270000"/>
                  </a:lnTo>
                  <a:lnTo>
                    <a:pt x="0" y="1270000"/>
                  </a:lnTo>
                  <a:close/>
                </a:path>
              </a:pathLst>
            </a:custGeom>
            <a:solidFill>
              <a:srgbClr val="E0EDF8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 sz="2806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0F69CC5-725A-DC9C-EE57-E4195036E597}"/>
                </a:ext>
              </a:extLst>
            </p:cNvPr>
            <p:cNvGrpSpPr/>
            <p:nvPr userDrawn="1"/>
          </p:nvGrpSpPr>
          <p:grpSpPr>
            <a:xfrm>
              <a:off x="11767375" y="1"/>
              <a:ext cx="3351977" cy="2245000"/>
              <a:chOff x="7792497" y="1"/>
              <a:chExt cx="1351502" cy="1269998"/>
            </a:xfrm>
          </p:grpSpPr>
          <p:sp>
            <p:nvSpPr>
              <p:cNvPr id="39" name="Free-form: Shape 38">
                <a:extLst>
                  <a:ext uri="{FF2B5EF4-FFF2-40B4-BE49-F238E27FC236}">
                    <a16:creationId xmlns:a16="http://schemas.microsoft.com/office/drawing/2014/main" id="{ACD74EFB-1EB2-C902-2EB7-7A5AC47A313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 userDrawn="1"/>
            </p:nvSpPr>
            <p:spPr>
              <a:xfrm>
                <a:off x="7792497" y="600837"/>
                <a:ext cx="712232" cy="669162"/>
              </a:xfrm>
              <a:custGeom>
                <a:avLst/>
                <a:gdLst>
                  <a:gd name="connsiteX0" fmla="*/ 316547 w 949642"/>
                  <a:gd name="connsiteY0" fmla="*/ 0 h 669162"/>
                  <a:gd name="connsiteX1" fmla="*/ 0 w 949642"/>
                  <a:gd name="connsiteY1" fmla="*/ 669163 h 669162"/>
                  <a:gd name="connsiteX2" fmla="*/ 633095 w 949642"/>
                  <a:gd name="connsiteY2" fmla="*/ 669163 h 669162"/>
                  <a:gd name="connsiteX3" fmla="*/ 949643 w 949642"/>
                  <a:gd name="connsiteY3" fmla="*/ 0 h 669162"/>
                  <a:gd name="connsiteX4" fmla="*/ 316547 w 949642"/>
                  <a:gd name="connsiteY4" fmla="*/ 0 h 669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9642" h="669162">
                    <a:moveTo>
                      <a:pt x="316547" y="0"/>
                    </a:moveTo>
                    <a:lnTo>
                      <a:pt x="0" y="669163"/>
                    </a:lnTo>
                    <a:lnTo>
                      <a:pt x="633095" y="669163"/>
                    </a:lnTo>
                    <a:cubicBezTo>
                      <a:pt x="633095" y="669163"/>
                      <a:pt x="949643" y="0"/>
                      <a:pt x="949643" y="0"/>
                    </a:cubicBezTo>
                    <a:lnTo>
                      <a:pt x="316547" y="0"/>
                    </a:lnTo>
                    <a:close/>
                  </a:path>
                </a:pathLst>
              </a:custGeom>
              <a:solidFill>
                <a:srgbClr val="00B1A8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 sz="2806"/>
              </a:p>
            </p:txBody>
          </p:sp>
          <p:sp>
            <p:nvSpPr>
              <p:cNvPr id="40" name="Free-form: Shape 39">
                <a:extLst>
                  <a:ext uri="{FF2B5EF4-FFF2-40B4-BE49-F238E27FC236}">
                    <a16:creationId xmlns:a16="http://schemas.microsoft.com/office/drawing/2014/main" id="{E7241B76-7122-AE56-0EFB-6DFFD069ADB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 userDrawn="1"/>
            </p:nvSpPr>
            <p:spPr>
              <a:xfrm>
                <a:off x="8504777" y="1"/>
                <a:ext cx="639222" cy="600837"/>
              </a:xfrm>
              <a:custGeom>
                <a:avLst/>
                <a:gdLst>
                  <a:gd name="connsiteX0" fmla="*/ 568198 w 852296"/>
                  <a:gd name="connsiteY0" fmla="*/ 600837 h 600837"/>
                  <a:gd name="connsiteX1" fmla="*/ 852297 w 852296"/>
                  <a:gd name="connsiteY1" fmla="*/ 0 h 600837"/>
                  <a:gd name="connsiteX2" fmla="*/ 284099 w 852296"/>
                  <a:gd name="connsiteY2" fmla="*/ 0 h 600837"/>
                  <a:gd name="connsiteX3" fmla="*/ 0 w 852296"/>
                  <a:gd name="connsiteY3" fmla="*/ 600837 h 600837"/>
                  <a:gd name="connsiteX4" fmla="*/ 568198 w 852296"/>
                  <a:gd name="connsiteY4" fmla="*/ 600837 h 600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2296" h="600837">
                    <a:moveTo>
                      <a:pt x="568198" y="600837"/>
                    </a:moveTo>
                    <a:lnTo>
                      <a:pt x="852297" y="0"/>
                    </a:lnTo>
                    <a:lnTo>
                      <a:pt x="284099" y="0"/>
                    </a:lnTo>
                    <a:cubicBezTo>
                      <a:pt x="284099" y="0"/>
                      <a:pt x="0" y="600837"/>
                      <a:pt x="0" y="600837"/>
                    </a:cubicBezTo>
                    <a:lnTo>
                      <a:pt x="568198" y="600837"/>
                    </a:lnTo>
                    <a:close/>
                  </a:path>
                </a:pathLst>
              </a:custGeom>
              <a:solidFill>
                <a:srgbClr val="CDDB00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 sz="2806"/>
              </a:p>
            </p:txBody>
          </p:sp>
          <p:sp>
            <p:nvSpPr>
              <p:cNvPr id="41" name="Free-form: Shape 40">
                <a:extLst>
                  <a:ext uri="{FF2B5EF4-FFF2-40B4-BE49-F238E27FC236}">
                    <a16:creationId xmlns:a16="http://schemas.microsoft.com/office/drawing/2014/main" id="{1AB8811A-2AF9-3D1A-7290-BC7B6EA26CF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 userDrawn="1"/>
            </p:nvSpPr>
            <p:spPr>
              <a:xfrm>
                <a:off x="8291703" y="1"/>
                <a:ext cx="639222" cy="600837"/>
              </a:xfrm>
              <a:custGeom>
                <a:avLst/>
                <a:gdLst>
                  <a:gd name="connsiteX0" fmla="*/ 852297 w 852296"/>
                  <a:gd name="connsiteY0" fmla="*/ 600837 h 600837"/>
                  <a:gd name="connsiteX1" fmla="*/ 568198 w 852296"/>
                  <a:gd name="connsiteY1" fmla="*/ 0 h 600837"/>
                  <a:gd name="connsiteX2" fmla="*/ 0 w 852296"/>
                  <a:gd name="connsiteY2" fmla="*/ 0 h 600837"/>
                  <a:gd name="connsiteX3" fmla="*/ 284099 w 852296"/>
                  <a:gd name="connsiteY3" fmla="*/ 600837 h 600837"/>
                  <a:gd name="connsiteX4" fmla="*/ 852297 w 852296"/>
                  <a:gd name="connsiteY4" fmla="*/ 600837 h 600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2296" h="600837">
                    <a:moveTo>
                      <a:pt x="852297" y="600837"/>
                    </a:moveTo>
                    <a:lnTo>
                      <a:pt x="568198" y="0"/>
                    </a:lnTo>
                    <a:lnTo>
                      <a:pt x="0" y="0"/>
                    </a:lnTo>
                    <a:cubicBezTo>
                      <a:pt x="0" y="0"/>
                      <a:pt x="284099" y="600837"/>
                      <a:pt x="284099" y="600837"/>
                    </a:cubicBezTo>
                    <a:lnTo>
                      <a:pt x="852297" y="600837"/>
                    </a:lnTo>
                    <a:close/>
                  </a:path>
                </a:pathLst>
              </a:custGeom>
              <a:solidFill>
                <a:srgbClr val="FFFFFF">
                  <a:alpha val="50000"/>
                </a:srgb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 sz="2806"/>
              </a:p>
            </p:txBody>
          </p:sp>
          <p:sp>
            <p:nvSpPr>
              <p:cNvPr id="42" name="Free-form: Shape 41">
                <a:extLst>
                  <a:ext uri="{FF2B5EF4-FFF2-40B4-BE49-F238E27FC236}">
                    <a16:creationId xmlns:a16="http://schemas.microsoft.com/office/drawing/2014/main" id="{F88C237B-3642-81D4-58BC-F75C75257471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 userDrawn="1"/>
            </p:nvSpPr>
            <p:spPr>
              <a:xfrm>
                <a:off x="8029908" y="600837"/>
                <a:ext cx="712232" cy="669162"/>
              </a:xfrm>
              <a:custGeom>
                <a:avLst/>
                <a:gdLst>
                  <a:gd name="connsiteX0" fmla="*/ 0 w 949642"/>
                  <a:gd name="connsiteY0" fmla="*/ 0 h 669162"/>
                  <a:gd name="connsiteX1" fmla="*/ 316548 w 949642"/>
                  <a:gd name="connsiteY1" fmla="*/ 669163 h 669162"/>
                  <a:gd name="connsiteX2" fmla="*/ 949643 w 949642"/>
                  <a:gd name="connsiteY2" fmla="*/ 669163 h 669162"/>
                  <a:gd name="connsiteX3" fmla="*/ 633095 w 949642"/>
                  <a:gd name="connsiteY3" fmla="*/ 0 h 669162"/>
                  <a:gd name="connsiteX4" fmla="*/ 0 w 949642"/>
                  <a:gd name="connsiteY4" fmla="*/ 0 h 669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9642" h="669162">
                    <a:moveTo>
                      <a:pt x="0" y="0"/>
                    </a:moveTo>
                    <a:lnTo>
                      <a:pt x="316548" y="669163"/>
                    </a:lnTo>
                    <a:lnTo>
                      <a:pt x="949643" y="669163"/>
                    </a:lnTo>
                    <a:cubicBezTo>
                      <a:pt x="949643" y="669163"/>
                      <a:pt x="633095" y="0"/>
                      <a:pt x="633095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>
                  <a:alpha val="50000"/>
                </a:srgb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AU" sz="2806"/>
              </a:p>
            </p:txBody>
          </p:sp>
        </p:grp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05800" y="9905985"/>
            <a:ext cx="3204790" cy="561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558">
                <a:solidFill>
                  <a:schemeClr val="accent6"/>
                </a:solidFill>
              </a:defRPr>
            </a:lvl1pPr>
          </a:lstStyle>
          <a:p>
            <a:fld id="{973D4877-A18C-4E62-9946-F942ED83388C}" type="datetime1">
              <a:rPr lang="en-GB" smtClean="0"/>
              <a:pPr/>
              <a:t>31/07/2023</a:t>
            </a:fld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03216" y="251742"/>
            <a:ext cx="10714499" cy="11225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3212" y="2846200"/>
            <a:ext cx="13333599" cy="61737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3213" y="9905985"/>
            <a:ext cx="7409918" cy="561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558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3787837" y="9905985"/>
            <a:ext cx="892875" cy="5612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558"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MSIPCMContentMarking">
            <a:extLst>
              <a:ext uri="{FF2B5EF4-FFF2-40B4-BE49-F238E27FC236}">
                <a16:creationId xmlns:a16="http://schemas.microsoft.com/office/drawing/2014/main" id="{C1CB3AF3-4B80-E700-28DB-DCCFCACEA5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6846683" y="10316718"/>
            <a:ext cx="1425985" cy="28789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AU" sz="1871" dirty="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2559479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7" r:id="rId2"/>
    <p:sldLayoutId id="2147483678" r:id="rId3"/>
    <p:sldLayoutId id="2147483692" r:id="rId4"/>
    <p:sldLayoutId id="2147483650" r:id="rId5"/>
    <p:sldLayoutId id="2147483652" r:id="rId6"/>
    <p:sldLayoutId id="2147483691" r:id="rId7"/>
    <p:sldLayoutId id="2147483664" r:id="rId8"/>
    <p:sldLayoutId id="2147483681" r:id="rId9"/>
    <p:sldLayoutId id="2147483662" r:id="rId10"/>
    <p:sldLayoutId id="2147483680" r:id="rId11"/>
    <p:sldLayoutId id="2147483689" r:id="rId12"/>
    <p:sldLayoutId id="2147483693" r:id="rId13"/>
    <p:sldLayoutId id="2147483690" r:id="rId14"/>
    <p:sldLayoutId id="2147483675" r:id="rId15"/>
    <p:sldLayoutId id="2147483655" r:id="rId16"/>
  </p:sldLayoutIdLst>
  <p:hf hdr="0" dt="0"/>
  <p:txStyles>
    <p:titleStyle>
      <a:lvl1pPr algn="l" defTabSz="1425332" rtl="0" eaLnBrk="1" latinLnBrk="0" hangingPunct="1">
        <a:lnSpc>
          <a:spcPct val="100000"/>
        </a:lnSpc>
        <a:spcBef>
          <a:spcPct val="0"/>
        </a:spcBef>
        <a:buNone/>
        <a:defRPr sz="2300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1425332" rtl="0" eaLnBrk="1" latinLnBrk="0" hangingPunct="1">
        <a:lnSpc>
          <a:spcPct val="100000"/>
        </a:lnSpc>
        <a:spcBef>
          <a:spcPts val="935"/>
        </a:spcBef>
        <a:buFont typeface="Arial" panose="020B0604020202020204" pitchFamily="34" charset="0"/>
        <a:buNone/>
        <a:defRPr sz="2806" b="1" kern="1200">
          <a:solidFill>
            <a:schemeClr val="accent6"/>
          </a:solidFill>
          <a:latin typeface="+mn-lt"/>
          <a:ea typeface="+mn-ea"/>
          <a:cs typeface="+mn-cs"/>
        </a:defRPr>
      </a:lvl1pPr>
      <a:lvl2pPr marL="0" indent="0" algn="l" defTabSz="1425332" rtl="0" eaLnBrk="1" latinLnBrk="0" hangingPunct="1">
        <a:lnSpc>
          <a:spcPct val="100000"/>
        </a:lnSpc>
        <a:spcBef>
          <a:spcPts val="935"/>
        </a:spcBef>
        <a:buFont typeface="Arial" panose="020B0604020202020204" pitchFamily="34" charset="0"/>
        <a:buNone/>
        <a:defRPr sz="2806" kern="1200">
          <a:solidFill>
            <a:schemeClr val="accent6"/>
          </a:solidFill>
          <a:latin typeface="+mn-lt"/>
          <a:ea typeface="+mn-ea"/>
          <a:cs typeface="+mn-cs"/>
        </a:defRPr>
      </a:lvl2pPr>
      <a:lvl3pPr marL="280577" indent="-280577" algn="l" defTabSz="1425332" rtl="0" eaLnBrk="1" latinLnBrk="0" hangingPunct="1">
        <a:lnSpc>
          <a:spcPct val="100000"/>
        </a:lnSpc>
        <a:spcBef>
          <a:spcPts val="935"/>
        </a:spcBef>
        <a:buClr>
          <a:schemeClr val="accent3"/>
        </a:buClr>
        <a:buFont typeface="Arial" panose="020B0604020202020204" pitchFamily="34" charset="0"/>
        <a:buChar char="•"/>
        <a:defRPr sz="2806" kern="1200">
          <a:solidFill>
            <a:schemeClr val="accent6"/>
          </a:solidFill>
          <a:latin typeface="+mn-lt"/>
          <a:ea typeface="+mn-ea"/>
          <a:cs typeface="+mn-cs"/>
        </a:defRPr>
      </a:lvl3pPr>
      <a:lvl4pPr marL="561154" indent="-280577" algn="l" defTabSz="1425332" rtl="0" eaLnBrk="1" latinLnBrk="0" hangingPunct="1">
        <a:lnSpc>
          <a:spcPct val="100000"/>
        </a:lnSpc>
        <a:spcBef>
          <a:spcPts val="1871"/>
        </a:spcBef>
        <a:spcAft>
          <a:spcPts val="1871"/>
        </a:spcAft>
        <a:buClr>
          <a:schemeClr val="accent2"/>
        </a:buClr>
        <a:buFont typeface="Arial" panose="020B0604020202020204" pitchFamily="34" charset="0"/>
        <a:buChar char="•"/>
        <a:defRPr sz="2806" b="0" i="0" kern="1200">
          <a:solidFill>
            <a:schemeClr val="accent6"/>
          </a:solidFill>
          <a:latin typeface="+mn-lt"/>
          <a:ea typeface="+mn-ea"/>
          <a:cs typeface="+mn-cs"/>
        </a:defRPr>
      </a:lvl4pPr>
      <a:lvl5pPr marL="0" indent="0" algn="l" defTabSz="1425332" rtl="0" eaLnBrk="1" latinLnBrk="0" hangingPunct="1">
        <a:lnSpc>
          <a:spcPct val="100000"/>
        </a:lnSpc>
        <a:spcBef>
          <a:spcPts val="935"/>
        </a:spcBef>
        <a:buFont typeface="Arial" panose="020B0604020202020204" pitchFamily="34" charset="0"/>
        <a:buNone/>
        <a:defRPr sz="2182" b="1" kern="1200">
          <a:solidFill>
            <a:schemeClr val="accent6"/>
          </a:solidFill>
          <a:latin typeface="+mn-lt"/>
          <a:ea typeface="+mn-ea"/>
          <a:cs typeface="+mn-cs"/>
        </a:defRPr>
      </a:lvl5pPr>
      <a:lvl6pPr marL="0" indent="0" algn="l" defTabSz="1425332" rtl="0" eaLnBrk="1" latinLnBrk="0" hangingPunct="1">
        <a:lnSpc>
          <a:spcPct val="100000"/>
        </a:lnSpc>
        <a:spcBef>
          <a:spcPts val="935"/>
        </a:spcBef>
        <a:buFont typeface="Arial" panose="020B0604020202020204" pitchFamily="34" charset="0"/>
        <a:buNone/>
        <a:defRPr sz="2182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425332" rtl="0" eaLnBrk="1" latinLnBrk="0" hangingPunct="1">
        <a:lnSpc>
          <a:spcPct val="100000"/>
        </a:lnSpc>
        <a:spcBef>
          <a:spcPts val="935"/>
        </a:spcBef>
        <a:buFont typeface="Arial" panose="020B0604020202020204" pitchFamily="34" charset="0"/>
        <a:buNone/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425332" rtl="0" eaLnBrk="1" latinLnBrk="0" hangingPunct="1">
        <a:lnSpc>
          <a:spcPct val="100000"/>
        </a:lnSpc>
        <a:spcBef>
          <a:spcPts val="935"/>
        </a:spcBef>
        <a:buFont typeface="Arial" panose="020B0604020202020204" pitchFamily="34" charset="0"/>
        <a:buNone/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425332" rtl="0" eaLnBrk="1" latinLnBrk="0" hangingPunct="1">
        <a:lnSpc>
          <a:spcPct val="100000"/>
        </a:lnSpc>
        <a:spcBef>
          <a:spcPts val="935"/>
        </a:spcBef>
        <a:buFont typeface="Arial" panose="020B0604020202020204" pitchFamily="34" charset="0"/>
        <a:buNone/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25332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1pPr>
      <a:lvl2pPr marL="712667" algn="l" defTabSz="1425332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2pPr>
      <a:lvl3pPr marL="1425332" algn="l" defTabSz="1425332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3pPr>
      <a:lvl4pPr marL="2137999" algn="l" defTabSz="1425332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2850664" algn="l" defTabSz="1425332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563331" algn="l" defTabSz="1425332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275997" algn="l" defTabSz="1425332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4988663" algn="l" defTabSz="1425332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5701329" algn="l" defTabSz="1425332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1.emf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96997C0-ABCC-BBF3-12AD-0C7AC342FC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8375341"/>
              </p:ext>
            </p:extLst>
          </p:nvPr>
        </p:nvGraphicFramePr>
        <p:xfrm>
          <a:off x="435365" y="3293"/>
          <a:ext cx="2475" cy="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96997C0-ABCC-BBF3-12AD-0C7AC342FC67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35365" y="3293"/>
                        <a:ext cx="2475" cy="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C23A05B-338A-E882-D37C-C09A4BEA8C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 dirty="0">
                <a:latin typeface="+mn-lt"/>
              </a:rPr>
              <a:t>Post-submission consultation proces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C192CF-5D0A-D066-F766-6989F83EAB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21" idx="6"/>
            <a:endCxn id="84" idx="2"/>
          </p:cNvCxnSpPr>
          <p:nvPr/>
        </p:nvCxnSpPr>
        <p:spPr>
          <a:xfrm>
            <a:off x="11763777" y="3472043"/>
            <a:ext cx="1446074" cy="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 descr="Step 1">
            <a:extLst>
              <a:ext uri="{FF2B5EF4-FFF2-40B4-BE49-F238E27FC236}">
                <a16:creationId xmlns:a16="http://schemas.microsoft.com/office/drawing/2014/main" id="{695AE63B-F76E-0D35-26F2-AF472BF30C80}"/>
              </a:ext>
            </a:extLst>
          </p:cNvPr>
          <p:cNvSpPr/>
          <p:nvPr/>
        </p:nvSpPr>
        <p:spPr>
          <a:xfrm>
            <a:off x="592517" y="3318402"/>
            <a:ext cx="326366" cy="307282"/>
          </a:xfrm>
          <a:prstGeom prst="ellipse">
            <a:avLst/>
          </a:prstGeom>
          <a:solidFill>
            <a:schemeClr val="accent5"/>
          </a:solidFill>
          <a:ln w="19050">
            <a:solidFill>
              <a:srgbClr val="4657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/>
              <a:t>1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99D6347-AD48-1FFA-66C9-6C154BD72184}"/>
              </a:ext>
            </a:extLst>
          </p:cNvPr>
          <p:cNvSpPr/>
          <p:nvPr/>
        </p:nvSpPr>
        <p:spPr>
          <a:xfrm>
            <a:off x="918884" y="4171993"/>
            <a:ext cx="975267" cy="142264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defTabSz="659709">
              <a:spcAft>
                <a:spcPts val="283"/>
              </a:spcAft>
            </a:pPr>
            <a:r>
              <a:rPr lang="en-AU" sz="1000" b="1" dirty="0">
                <a:solidFill>
                  <a:srgbClr val="017D7D"/>
                </a:solidFill>
              </a:rPr>
              <a:t>Submission received</a:t>
            </a:r>
          </a:p>
          <a:p>
            <a:pPr defTabSz="659709">
              <a:spcAft>
                <a:spcPts val="283"/>
              </a:spcAft>
            </a:pPr>
            <a:r>
              <a:rPr lang="en-AU" sz="1000" dirty="0">
                <a:solidFill>
                  <a:schemeClr val="accent6"/>
                </a:solidFill>
                <a:cs typeface="Segoe UI Semilight"/>
              </a:rPr>
              <a:t>Council receives your submission. You can access the objection lodgement page here [</a:t>
            </a:r>
            <a:r>
              <a:rPr lang="en-AU" sz="1000" dirty="0">
                <a:solidFill>
                  <a:schemeClr val="accent6"/>
                </a:solidFill>
                <a:highlight>
                  <a:srgbClr val="FFFF00"/>
                </a:highlight>
                <a:cs typeface="Segoe UI Semilight"/>
              </a:rPr>
              <a:t>insert link] </a:t>
            </a:r>
          </a:p>
        </p:txBody>
      </p:sp>
      <p:sp>
        <p:nvSpPr>
          <p:cNvPr id="8" name="Oval 7" descr="Step 2">
            <a:extLst>
              <a:ext uri="{FF2B5EF4-FFF2-40B4-BE49-F238E27FC236}">
                <a16:creationId xmlns:a16="http://schemas.microsoft.com/office/drawing/2014/main" id="{79DB1B52-C539-BB62-3C67-E77D6FAFBDE4}"/>
              </a:ext>
            </a:extLst>
          </p:cNvPr>
          <p:cNvSpPr/>
          <p:nvPr/>
        </p:nvSpPr>
        <p:spPr>
          <a:xfrm>
            <a:off x="1889320" y="3318402"/>
            <a:ext cx="307282" cy="307282"/>
          </a:xfrm>
          <a:prstGeom prst="ellipse">
            <a:avLst/>
          </a:prstGeom>
          <a:solidFill>
            <a:schemeClr val="accent5"/>
          </a:solidFill>
          <a:ln w="19050">
            <a:solidFill>
              <a:srgbClr val="4657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/>
              <a:t>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BE00234-36F5-36BD-7351-2C6C5D229A6B}"/>
              </a:ext>
            </a:extLst>
          </p:cNvPr>
          <p:cNvSpPr/>
          <p:nvPr/>
        </p:nvSpPr>
        <p:spPr>
          <a:xfrm>
            <a:off x="2176847" y="4180640"/>
            <a:ext cx="1427657" cy="8340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defTabSz="659709">
              <a:spcAft>
                <a:spcPts val="283"/>
              </a:spcAft>
            </a:pPr>
            <a:r>
              <a:rPr lang="en-AU" sz="1000" b="1" dirty="0">
                <a:solidFill>
                  <a:srgbClr val="017D7D"/>
                </a:solidFill>
              </a:rPr>
              <a:t>Acknowledgement</a:t>
            </a:r>
          </a:p>
          <a:p>
            <a:pPr defTabSz="659709"/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Council will let you know that your submission has been received via email.</a:t>
            </a:r>
          </a:p>
          <a:p>
            <a:pPr defTabSz="659709"/>
            <a:endParaRPr lang="en-AU" sz="1000" dirty="0">
              <a:solidFill>
                <a:schemeClr val="accent6"/>
              </a:solidFill>
              <a:cs typeface="Segoe UI Semilight" panose="020B0402040204020203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177046FA-C068-CD4E-8CA0-9561636BB3CA}"/>
              </a:ext>
            </a:extLst>
          </p:cNvPr>
          <p:cNvSpPr txBox="1"/>
          <p:nvPr/>
        </p:nvSpPr>
        <p:spPr>
          <a:xfrm>
            <a:off x="2176847" y="5594637"/>
            <a:ext cx="1287132" cy="178510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659709" rtl="0" eaLnBrk="1" fontAlgn="auto" latinLnBrk="0" hangingPunct="1">
              <a:lnSpc>
                <a:spcPct val="100000"/>
              </a:lnSpc>
              <a:spcBef>
                <a:spcPts val="3394"/>
              </a:spcBef>
              <a:spcAft>
                <a:spcPts val="283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munication</a:t>
            </a:r>
            <a:b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latin typeface="Arial" panose="020B0604020202020204"/>
                <a:ea typeface="+mn-ea"/>
                <a:cs typeface="Segoe UI Semilight" panose="020B0402040204020203" pitchFamily="34" charset="0"/>
              </a:rPr>
              <a:t>If you’ve lodged a submission, you can expect updates and communication from our team. From this point, you will receive information on the next steps as they arise.</a:t>
            </a:r>
          </a:p>
        </p:txBody>
      </p:sp>
      <p:sp>
        <p:nvSpPr>
          <p:cNvPr id="33" name="Oval 32" descr="Step 3">
            <a:extLst>
              <a:ext uri="{FF2B5EF4-FFF2-40B4-BE49-F238E27FC236}">
                <a16:creationId xmlns:a16="http://schemas.microsoft.com/office/drawing/2014/main" id="{0F6A0AAD-00F2-336D-E81B-8BE5ED520747}"/>
              </a:ext>
            </a:extLst>
          </p:cNvPr>
          <p:cNvSpPr/>
          <p:nvPr/>
        </p:nvSpPr>
        <p:spPr>
          <a:xfrm>
            <a:off x="3496007" y="3318402"/>
            <a:ext cx="307282" cy="307282"/>
          </a:xfrm>
          <a:prstGeom prst="ellipse">
            <a:avLst/>
          </a:prstGeom>
          <a:solidFill>
            <a:schemeClr val="accent5"/>
          </a:solidFill>
          <a:ln w="19050">
            <a:solidFill>
              <a:srgbClr val="4657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/>
              <a:t>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291501-B7F8-DC6A-C382-ABA389B9C2D7}"/>
              </a:ext>
            </a:extLst>
          </p:cNvPr>
          <p:cNvSpPr/>
          <p:nvPr/>
        </p:nvSpPr>
        <p:spPr>
          <a:xfrm>
            <a:off x="3804210" y="4180640"/>
            <a:ext cx="1323603" cy="214851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4653" rIns="0" bIns="64653" rtlCol="0" anchor="t"/>
          <a:lstStyle/>
          <a:p>
            <a:pPr defTabSz="659709">
              <a:spcAft>
                <a:spcPts val="424"/>
              </a:spcAft>
            </a:pPr>
            <a:r>
              <a:rPr lang="en-AU" sz="1000" b="1" dirty="0">
                <a:solidFill>
                  <a:srgbClr val="017D7D"/>
                </a:solidFill>
              </a:rPr>
              <a:t>Submissions provided </a:t>
            </a:r>
          </a:p>
          <a:p>
            <a:pPr defTabSz="659709">
              <a:spcAft>
                <a:spcPts val="848"/>
              </a:spcAft>
            </a:pPr>
            <a:r>
              <a:rPr lang="en-AU" sz="1000" dirty="0">
                <a:solidFill>
                  <a:schemeClr val="accent6"/>
                </a:solidFill>
                <a:cs typeface="Segoe UI Semilight"/>
              </a:rPr>
              <a:t>Council will provide all submissions to the applicant within 10 days of the advertising period closing. On request, community members can access redacted copies of submissions – Just speak to a planning officer.</a:t>
            </a:r>
          </a:p>
        </p:txBody>
      </p: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B275CB27-722E-E6DE-1DD1-AFED07F210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34" idx="0"/>
            <a:endCxn id="21" idx="0"/>
          </p:cNvCxnSpPr>
          <p:nvPr/>
        </p:nvCxnSpPr>
        <p:spPr>
          <a:xfrm rot="16200000" flipH="1">
            <a:off x="8467271" y="175538"/>
            <a:ext cx="45014" cy="6240715"/>
          </a:xfrm>
          <a:prstGeom prst="bentConnector3">
            <a:avLst>
              <a:gd name="adj1" fmla="val -1600478"/>
            </a:avLst>
          </a:prstGeom>
          <a:ln w="38100">
            <a:solidFill>
              <a:srgbClr val="46576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0" descr="From Step 4 to Step 7: No mediation held. If a meeting is determined to have no merit, submitters receive automated next steps email update &#10;(i.e., ‘under consideration’ or ‘under assessment’)">
            <a:extLst>
              <a:ext uri="{FF2B5EF4-FFF2-40B4-BE49-F238E27FC236}">
                <a16:creationId xmlns:a16="http://schemas.microsoft.com/office/drawing/2014/main" id="{A3D4C57C-A766-1118-235A-A9663C3FE801}"/>
              </a:ext>
            </a:extLst>
          </p:cNvPr>
          <p:cNvGrpSpPr/>
          <p:nvPr/>
        </p:nvGrpSpPr>
        <p:grpSpPr>
          <a:xfrm>
            <a:off x="6700267" y="2423124"/>
            <a:ext cx="3856726" cy="659391"/>
            <a:chOff x="4738166" y="1166406"/>
            <a:chExt cx="2727326" cy="466296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0494951-5F31-5712-A4C2-BC2B7851EB21}"/>
                </a:ext>
              </a:extLst>
            </p:cNvPr>
            <p:cNvSpPr/>
            <p:nvPr/>
          </p:nvSpPr>
          <p:spPr>
            <a:xfrm>
              <a:off x="4738166" y="1317519"/>
              <a:ext cx="2727326" cy="315183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64653" rIns="0" bIns="64653" rtlCol="0" anchor="t"/>
            <a:lstStyle/>
            <a:p>
              <a:pPr algn="ctr" defTabSz="659709"/>
              <a:r>
                <a:rPr lang="en-AU" sz="1000" dirty="0">
                  <a:solidFill>
                    <a:srgbClr val="000000"/>
                  </a:solidFill>
                  <a:cs typeface="Segoe UI Semilight"/>
                </a:rPr>
                <a:t>If a meeting is determined to have </a:t>
              </a:r>
              <a:r>
                <a:rPr lang="en-AU" sz="1000" b="1" dirty="0">
                  <a:solidFill>
                    <a:srgbClr val="000000"/>
                  </a:solidFill>
                  <a:cs typeface="Segoe UI Semilight"/>
                </a:rPr>
                <a:t>no merit</a:t>
              </a:r>
              <a:r>
                <a:rPr lang="en-AU" sz="1000" dirty="0">
                  <a:solidFill>
                    <a:srgbClr val="000000"/>
                  </a:solidFill>
                  <a:cs typeface="Segoe UI Semilight"/>
                </a:rPr>
                <a:t>, submitters receive automated next steps email update </a:t>
              </a:r>
              <a:br>
                <a:rPr lang="en-AU" sz="1000" dirty="0">
                  <a:solidFill>
                    <a:srgbClr val="000000"/>
                  </a:solidFill>
                  <a:cs typeface="Segoe UI Semilight"/>
                </a:rPr>
              </a:br>
              <a:r>
                <a:rPr lang="en-AU" sz="1000" dirty="0">
                  <a:solidFill>
                    <a:srgbClr val="000000"/>
                  </a:solidFill>
                  <a:cs typeface="Segoe UI Semilight"/>
                </a:rPr>
                <a:t>(i.e., ‘under consideration’ or ‘under assessment’)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41E0A729-D9FC-A2D7-3EA2-6D2770ED8730}"/>
                </a:ext>
              </a:extLst>
            </p:cNvPr>
            <p:cNvSpPr txBox="1"/>
            <p:nvPr/>
          </p:nvSpPr>
          <p:spPr>
            <a:xfrm>
              <a:off x="5545788" y="1166406"/>
              <a:ext cx="1112084" cy="19588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 defTabSz="659709">
                <a:spcAft>
                  <a:spcPts val="424"/>
                </a:spcAft>
                <a:defRPr/>
              </a:pPr>
              <a:r>
                <a:rPr lang="en-AU" sz="1200" b="1" dirty="0">
                  <a:solidFill>
                    <a:schemeClr val="accent6"/>
                  </a:solidFill>
                </a:rPr>
                <a:t>No mediation held</a:t>
              </a:r>
            </a:p>
          </p:txBody>
        </p:sp>
      </p:grpSp>
      <p:sp>
        <p:nvSpPr>
          <p:cNvPr id="34" name="Flowchart: Decision 33" descr="Step 4">
            <a:extLst>
              <a:ext uri="{FF2B5EF4-FFF2-40B4-BE49-F238E27FC236}">
                <a16:creationId xmlns:a16="http://schemas.microsoft.com/office/drawing/2014/main" id="{6DF61564-9615-ACA8-A676-F9C9A85B0962}"/>
              </a:ext>
            </a:extLst>
          </p:cNvPr>
          <p:cNvSpPr/>
          <p:nvPr/>
        </p:nvSpPr>
        <p:spPr>
          <a:xfrm>
            <a:off x="5170766" y="3273388"/>
            <a:ext cx="397310" cy="397310"/>
          </a:xfrm>
          <a:prstGeom prst="flowChartDecision">
            <a:avLst/>
          </a:prstGeom>
          <a:solidFill>
            <a:schemeClr val="accent1"/>
          </a:solidFill>
          <a:ln w="19050">
            <a:solidFill>
              <a:srgbClr val="4657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>
                <a:solidFill>
                  <a:schemeClr val="accent6"/>
                </a:solidFill>
              </a:rPr>
              <a:t>4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D987DAFC-0BDB-3273-A611-4B4815178C8C}"/>
              </a:ext>
            </a:extLst>
          </p:cNvPr>
          <p:cNvSpPr txBox="1"/>
          <p:nvPr/>
        </p:nvSpPr>
        <p:spPr>
          <a:xfrm>
            <a:off x="5417369" y="4180640"/>
            <a:ext cx="1767451" cy="17081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050" b="1" dirty="0">
                <a:solidFill>
                  <a:schemeClr val="accent6"/>
                </a:solidFill>
                <a:latin typeface="Arial"/>
                <a:cs typeface="Arial"/>
              </a:rPr>
              <a:t>Mediation value assessed</a:t>
            </a:r>
          </a:p>
          <a:p>
            <a:r>
              <a:rPr lang="en-US" sz="1050" dirty="0">
                <a:solidFill>
                  <a:schemeClr val="accent6"/>
                </a:solidFill>
                <a:latin typeface="Arial"/>
                <a:cs typeface="Segoe UI Semilight"/>
              </a:rPr>
              <a:t>Our Planning Officers will assess the value in going to a mediation meeting. This depends on many factors, such as the willingness of each party to compromise, and the relevant policies.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14A639D-F7E0-1EC2-95BB-954BCFD38008}"/>
              </a:ext>
            </a:extLst>
          </p:cNvPr>
          <p:cNvSpPr txBox="1"/>
          <p:nvPr/>
        </p:nvSpPr>
        <p:spPr>
          <a:xfrm>
            <a:off x="5417369" y="6661255"/>
            <a:ext cx="1844169" cy="138499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defTabSz="13207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50" b="1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"/>
                <a:cs typeface="Arial"/>
              </a:rPr>
              <a:t>Communication</a:t>
            </a:r>
            <a:endParaRPr lang="en-AU" sz="1050" b="1" i="0" u="none" strike="noStrike" kern="1200" cap="none" spc="0" normalizeH="0" baseline="0" noProof="0" dirty="0">
              <a:ln>
                <a:noFill/>
              </a:ln>
              <a:solidFill>
                <a:schemeClr val="accent6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defTabSz="13207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050" dirty="0">
                <a:solidFill>
                  <a:schemeClr val="accent6"/>
                </a:solidFill>
                <a:latin typeface="Arial"/>
                <a:cs typeface="Arial"/>
              </a:rPr>
              <a:t>If mediation is held, the planning officer will communicate meeting logistics and agenda (including key objection themes) to both submitter and applicant.</a:t>
            </a:r>
          </a:p>
        </p:txBody>
      </p:sp>
      <p:sp>
        <p:nvSpPr>
          <p:cNvPr id="76" name="Oval 75" descr="Step 5">
            <a:extLst>
              <a:ext uri="{FF2B5EF4-FFF2-40B4-BE49-F238E27FC236}">
                <a16:creationId xmlns:a16="http://schemas.microsoft.com/office/drawing/2014/main" id="{F283FB94-BD8F-E985-F313-8838229EE427}"/>
              </a:ext>
            </a:extLst>
          </p:cNvPr>
          <p:cNvSpPr/>
          <p:nvPr/>
        </p:nvSpPr>
        <p:spPr>
          <a:xfrm>
            <a:off x="7177543" y="3318402"/>
            <a:ext cx="307282" cy="307282"/>
          </a:xfrm>
          <a:prstGeom prst="ellipse">
            <a:avLst/>
          </a:prstGeom>
          <a:solidFill>
            <a:schemeClr val="accent5"/>
          </a:solidFill>
          <a:ln w="19050">
            <a:solidFill>
              <a:srgbClr val="4657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/>
              <a:t>5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15D3D05E-C99C-ED90-5BF2-A5ABD7CBB45A}"/>
              </a:ext>
            </a:extLst>
          </p:cNvPr>
          <p:cNvSpPr txBox="1"/>
          <p:nvPr/>
        </p:nvSpPr>
        <p:spPr>
          <a:xfrm>
            <a:off x="7392721" y="4180640"/>
            <a:ext cx="1728192" cy="15465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AU" sz="1050" b="1" dirty="0">
                <a:solidFill>
                  <a:schemeClr val="accent6"/>
                </a:solidFill>
                <a:latin typeface="Arial"/>
                <a:cs typeface="Arial"/>
              </a:rPr>
              <a:t>Mediation</a:t>
            </a:r>
          </a:p>
          <a:p>
            <a:r>
              <a:rPr lang="en-US" sz="1050" dirty="0">
                <a:solidFill>
                  <a:schemeClr val="accent6"/>
                </a:solidFill>
                <a:latin typeface="Arial"/>
                <a:cs typeface="Arial"/>
              </a:rPr>
              <a:t>If mediation is held, our Planning Officers will select the most appropriate way to hold the session. For example, this could include a F2F, or virtual meeting between parties.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D0AFE8A-88B1-19A9-0EF9-A4047ADF44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76" idx="6"/>
            <a:endCxn id="21" idx="2"/>
          </p:cNvCxnSpPr>
          <p:nvPr/>
        </p:nvCxnSpPr>
        <p:spPr>
          <a:xfrm>
            <a:off x="7484825" y="3472043"/>
            <a:ext cx="3971670" cy="0"/>
          </a:xfrm>
          <a:prstGeom prst="line">
            <a:avLst/>
          </a:prstGeom>
          <a:ln w="38100">
            <a:solidFill>
              <a:srgbClr val="46576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BB7CF8C0-48D1-9D84-1EF9-07D2E0A9D015}"/>
              </a:ext>
            </a:extLst>
          </p:cNvPr>
          <p:cNvSpPr txBox="1"/>
          <p:nvPr/>
        </p:nvSpPr>
        <p:spPr>
          <a:xfrm>
            <a:off x="7392721" y="6641077"/>
            <a:ext cx="1861494" cy="7386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1320759">
              <a:defRPr/>
            </a:pPr>
            <a:r>
              <a:rPr lang="en-US" sz="1050" b="1" dirty="0">
                <a:solidFill>
                  <a:schemeClr val="accent6"/>
                </a:solidFill>
                <a:latin typeface="Arial"/>
                <a:cs typeface="Arial"/>
              </a:rPr>
              <a:t>Communication</a:t>
            </a:r>
          </a:p>
          <a:p>
            <a:pPr>
              <a:defRPr/>
            </a:pPr>
            <a:r>
              <a:rPr lang="en-US" sz="1050" dirty="0">
                <a:solidFill>
                  <a:schemeClr val="accent6"/>
                </a:solidFill>
                <a:latin typeface="Arial"/>
                <a:cs typeface="Arial"/>
              </a:rPr>
              <a:t>Planning officer sends meeting summary and next steps to involved parties.</a:t>
            </a:r>
          </a:p>
        </p:txBody>
      </p:sp>
      <p:sp>
        <p:nvSpPr>
          <p:cNvPr id="39" name="Oval 38" descr="Step 6">
            <a:extLst>
              <a:ext uri="{FF2B5EF4-FFF2-40B4-BE49-F238E27FC236}">
                <a16:creationId xmlns:a16="http://schemas.microsoft.com/office/drawing/2014/main" id="{6918FFC2-F6E7-C972-B28D-B4A50470CD16}"/>
              </a:ext>
            </a:extLst>
          </p:cNvPr>
          <p:cNvSpPr/>
          <p:nvPr/>
        </p:nvSpPr>
        <p:spPr>
          <a:xfrm>
            <a:off x="9142910" y="3318402"/>
            <a:ext cx="307282" cy="307282"/>
          </a:xfrm>
          <a:prstGeom prst="ellipse">
            <a:avLst/>
          </a:prstGeom>
          <a:solidFill>
            <a:schemeClr val="accent5"/>
          </a:solidFill>
          <a:ln w="19050">
            <a:solidFill>
              <a:srgbClr val="4657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9BDD329D-2853-55AD-125C-AF6BECF44764}"/>
              </a:ext>
            </a:extLst>
          </p:cNvPr>
          <p:cNvSpPr txBox="1"/>
          <p:nvPr/>
        </p:nvSpPr>
        <p:spPr>
          <a:xfrm>
            <a:off x="9437002" y="4180640"/>
            <a:ext cx="1899741" cy="210826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050" b="1" dirty="0">
                <a:solidFill>
                  <a:schemeClr val="accent6"/>
                </a:solidFill>
                <a:latin typeface="Arial"/>
                <a:cs typeface="Arial"/>
              </a:rPr>
              <a:t>Modifications </a:t>
            </a:r>
          </a:p>
          <a:p>
            <a:r>
              <a:rPr lang="en-US" sz="1050" b="1" dirty="0">
                <a:solidFill>
                  <a:schemeClr val="accent6"/>
                </a:solidFill>
                <a:latin typeface="Arial"/>
                <a:cs typeface="Arial"/>
              </a:rPr>
              <a:t>And review</a:t>
            </a:r>
          </a:p>
          <a:p>
            <a:r>
              <a:rPr lang="en-US" sz="1050" dirty="0">
                <a:solidFill>
                  <a:schemeClr val="accent6"/>
                </a:solidFill>
                <a:latin typeface="Arial"/>
                <a:cs typeface="Arial"/>
              </a:rPr>
              <a:t>If an agreement is reached on modifications, our Planning Officer will select the most appropriate way to communicate changes. If no agreement is reached, the application will be reviewed, and a decision made.</a:t>
            </a:r>
          </a:p>
          <a:p>
            <a:endParaRPr lang="en-US" sz="1200" dirty="0">
              <a:solidFill>
                <a:schemeClr val="accent6"/>
              </a:solidFill>
              <a:latin typeface="Open Sans Light"/>
              <a:cs typeface="Segoe UI Semilight" panose="020B0402040204020203" pitchFamily="34" charset="0"/>
            </a:endParaRPr>
          </a:p>
          <a:p>
            <a:endParaRPr lang="en-AU" sz="1200" dirty="0">
              <a:solidFill>
                <a:schemeClr val="accent6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06AB7008-2970-96E2-8C19-915878A80340}"/>
              </a:ext>
            </a:extLst>
          </p:cNvPr>
          <p:cNvSpPr txBox="1"/>
          <p:nvPr/>
        </p:nvSpPr>
        <p:spPr>
          <a:xfrm>
            <a:off x="9414318" y="6641077"/>
            <a:ext cx="2301064" cy="122341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1320759">
              <a:defRPr/>
            </a:pPr>
            <a:r>
              <a:rPr lang="en-US" sz="1050" b="1" dirty="0">
                <a:solidFill>
                  <a:schemeClr val="accent6"/>
                </a:solidFill>
                <a:latin typeface="Arial"/>
                <a:cs typeface="Arial"/>
              </a:rPr>
              <a:t>Communication</a:t>
            </a:r>
          </a:p>
          <a:p>
            <a:pPr marL="0" marR="0" lvl="0" indent="0" algn="l" defTabSz="914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dirty="0">
                <a:solidFill>
                  <a:schemeClr val="accent6"/>
                </a:solidFill>
                <a:latin typeface="Arial"/>
                <a:cs typeface="Arial"/>
              </a:rPr>
              <a:t>Application status is updated to reflect that the application is currently “under assessment or consideration” while the Planning Officer assesses the merits of the application.</a:t>
            </a:r>
          </a:p>
        </p:txBody>
      </p:sp>
      <p:sp>
        <p:nvSpPr>
          <p:cNvPr id="21" name="Oval 20" descr="Step 7">
            <a:extLst>
              <a:ext uri="{FF2B5EF4-FFF2-40B4-BE49-F238E27FC236}">
                <a16:creationId xmlns:a16="http://schemas.microsoft.com/office/drawing/2014/main" id="{812BBCBE-C284-DCE8-2795-93C947CA7097}"/>
              </a:ext>
            </a:extLst>
          </p:cNvPr>
          <p:cNvSpPr/>
          <p:nvPr/>
        </p:nvSpPr>
        <p:spPr>
          <a:xfrm>
            <a:off x="11456495" y="3318402"/>
            <a:ext cx="307282" cy="307282"/>
          </a:xfrm>
          <a:prstGeom prst="ellipse">
            <a:avLst/>
          </a:prstGeom>
          <a:solidFill>
            <a:schemeClr val="accent5"/>
          </a:solidFill>
          <a:ln w="19050">
            <a:solidFill>
              <a:srgbClr val="4657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78AA441-2723-F040-11CB-8B40398ABF19}"/>
              </a:ext>
            </a:extLst>
          </p:cNvPr>
          <p:cNvSpPr/>
          <p:nvPr/>
        </p:nvSpPr>
        <p:spPr>
          <a:xfrm>
            <a:off x="11711883" y="4180640"/>
            <a:ext cx="1323603" cy="308460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defTabSz="659709">
              <a:spcAft>
                <a:spcPts val="424"/>
              </a:spcAft>
            </a:pPr>
            <a:r>
              <a:rPr lang="en-AU" sz="1000" b="1" dirty="0">
                <a:solidFill>
                  <a:srgbClr val="017D7D"/>
                </a:solidFill>
              </a:rPr>
              <a:t>Notice of decision</a:t>
            </a:r>
          </a:p>
          <a:p>
            <a:pPr defTabSz="659709">
              <a:spcAft>
                <a:spcPts val="424"/>
              </a:spcAft>
            </a:pPr>
            <a:r>
              <a:rPr lang="en-AU" sz="1000" dirty="0">
                <a:solidFill>
                  <a:schemeClr val="accent6"/>
                </a:solidFill>
              </a:rPr>
              <a:t>A Notice of Decision (NOD) will be issued by Council, included a summary of the key reasons for the decision. The NOD will include permit conditions, should a permit be issued.</a:t>
            </a:r>
          </a:p>
        </p:txBody>
      </p:sp>
      <p:sp>
        <p:nvSpPr>
          <p:cNvPr id="84" name="Oval 83" descr="Step 8">
            <a:extLst>
              <a:ext uri="{FF2B5EF4-FFF2-40B4-BE49-F238E27FC236}">
                <a16:creationId xmlns:a16="http://schemas.microsoft.com/office/drawing/2014/main" id="{6DD5F8C3-8C1B-7E22-6CCA-37350E68118D}"/>
              </a:ext>
            </a:extLst>
          </p:cNvPr>
          <p:cNvSpPr/>
          <p:nvPr/>
        </p:nvSpPr>
        <p:spPr>
          <a:xfrm>
            <a:off x="13209851" y="3318402"/>
            <a:ext cx="307282" cy="30728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rgbClr val="4657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b="1" dirty="0">
                <a:solidFill>
                  <a:schemeClr val="accent6"/>
                </a:solidFill>
              </a:rPr>
              <a:t>8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E3A01EF3-5DA0-C977-FE87-7D53ABE7D562}"/>
              </a:ext>
            </a:extLst>
          </p:cNvPr>
          <p:cNvSpPr/>
          <p:nvPr/>
        </p:nvSpPr>
        <p:spPr>
          <a:xfrm>
            <a:off x="13520656" y="4180640"/>
            <a:ext cx="1323602" cy="287817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4653" rIns="0" bIns="64653" rtlCol="0" anchor="t"/>
          <a:lstStyle/>
          <a:p>
            <a:pPr defTabSz="659709">
              <a:spcAft>
                <a:spcPts val="424"/>
              </a:spcAft>
            </a:pPr>
            <a:r>
              <a:rPr lang="en-AU" sz="1000" b="1" dirty="0">
                <a:solidFill>
                  <a:schemeClr val="accent6"/>
                </a:solidFill>
              </a:rPr>
              <a:t>Appeal decision (only if appeal is lodged)</a:t>
            </a:r>
          </a:p>
          <a:p>
            <a:pPr defTabSz="659709">
              <a:spcAft>
                <a:spcPts val="424"/>
              </a:spcAft>
            </a:pPr>
            <a:r>
              <a:rPr lang="en-AU" sz="1000" dirty="0">
                <a:solidFill>
                  <a:schemeClr val="accent6"/>
                </a:solidFill>
              </a:rPr>
              <a:t>If the applicant or a submitter lodges an appeal with VCAT (Victorian Civil and Administrative Tribunal), the Tribunal can review Council’s permit decision</a:t>
            </a:r>
          </a:p>
        </p:txBody>
      </p:sp>
      <p:sp>
        <p:nvSpPr>
          <p:cNvPr id="3" name="TextBox 1">
            <a:extLst>
              <a:ext uri="{FF2B5EF4-FFF2-40B4-BE49-F238E27FC236}">
                <a16:creationId xmlns:a16="http://schemas.microsoft.com/office/drawing/2014/main" id="{ED4DBC86-9FEE-2C59-4036-64ED1D9D6646}"/>
              </a:ext>
            </a:extLst>
          </p:cNvPr>
          <p:cNvSpPr txBox="1"/>
          <p:nvPr/>
        </p:nvSpPr>
        <p:spPr>
          <a:xfrm>
            <a:off x="11212286" y="9672673"/>
            <a:ext cx="3510309" cy="70788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34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4" algn="l" defTabSz="91434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49" algn="l" defTabSz="91434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23" algn="l" defTabSz="91434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97" algn="l" defTabSz="91434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72" algn="l" defTabSz="91434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46" algn="l" defTabSz="91434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21" algn="l" defTabSz="91434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95" algn="l" defTabSz="91434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rgbClr val="FF0000"/>
                </a:solidFill>
                <a:latin typeface="Arial"/>
                <a:cs typeface="Segoe UI"/>
              </a:rPr>
              <a:t>Implementation note:</a:t>
            </a:r>
            <a:r>
              <a:rPr lang="en-US" sz="1000" dirty="0">
                <a:solidFill>
                  <a:srgbClr val="FF0000"/>
                </a:solidFill>
                <a:latin typeface="Arial"/>
                <a:cs typeface="Segoe UI"/>
              </a:rPr>
              <a:t> delete this note prior to publishing this document.</a:t>
            </a:r>
          </a:p>
          <a:p>
            <a:r>
              <a:rPr lang="en-US" sz="1000" dirty="0">
                <a:solidFill>
                  <a:srgbClr val="FF0000"/>
                </a:solidFill>
                <a:latin typeface="Arial"/>
                <a:cs typeface="Segoe UI"/>
              </a:rPr>
              <a:t>The below process is a guide and should be reviewed and updated accordingly to suit your Council's principles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5153E8C-3B62-0198-58C7-31C60D3E47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8" idx="4"/>
          </p:cNvCxnSpPr>
          <p:nvPr/>
        </p:nvCxnSpPr>
        <p:spPr>
          <a:xfrm>
            <a:off x="2042961" y="3625684"/>
            <a:ext cx="0" cy="689870"/>
          </a:xfrm>
          <a:prstGeom prst="line">
            <a:avLst/>
          </a:prstGeom>
          <a:ln w="19050">
            <a:solidFill>
              <a:srgbClr val="46576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56635B7-9385-A9E2-97AC-7C8B0F61FA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33" idx="4"/>
          </p:cNvCxnSpPr>
          <p:nvPr/>
        </p:nvCxnSpPr>
        <p:spPr>
          <a:xfrm>
            <a:off x="3649648" y="3625684"/>
            <a:ext cx="0" cy="689870"/>
          </a:xfrm>
          <a:prstGeom prst="line">
            <a:avLst/>
          </a:prstGeom>
          <a:ln w="19050">
            <a:solidFill>
              <a:srgbClr val="46576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41DED7A-3498-EC1B-C54F-61FFD7C177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34" idx="2"/>
          </p:cNvCxnSpPr>
          <p:nvPr/>
        </p:nvCxnSpPr>
        <p:spPr>
          <a:xfrm>
            <a:off x="5369421" y="3670698"/>
            <a:ext cx="1790" cy="644856"/>
          </a:xfrm>
          <a:prstGeom prst="line">
            <a:avLst/>
          </a:prstGeom>
          <a:ln w="19050">
            <a:solidFill>
              <a:srgbClr val="46576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aphic 10">
            <a:extLst>
              <a:ext uri="{FF2B5EF4-FFF2-40B4-BE49-F238E27FC236}">
                <a16:creationId xmlns:a16="http://schemas.microsoft.com/office/drawing/2014/main" id="{1C3F3410-CA48-4042-DF63-F0BA9D8D34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535998" y="3852310"/>
            <a:ext cx="307632" cy="346825"/>
            <a:chOff x="4788250" y="4735731"/>
            <a:chExt cx="266018" cy="299898"/>
          </a:xfrm>
          <a:solidFill>
            <a:schemeClr val="accent1"/>
          </a:solidFill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BDE1AE9F-1DDF-53BB-D7D2-4B37E5A17647}"/>
                </a:ext>
              </a:extLst>
            </p:cNvPr>
            <p:cNvSpPr/>
            <p:nvPr/>
          </p:nvSpPr>
          <p:spPr>
            <a:xfrm>
              <a:off x="4864679" y="4838967"/>
              <a:ext cx="65021" cy="10950"/>
            </a:xfrm>
            <a:custGeom>
              <a:avLst/>
              <a:gdLst>
                <a:gd name="connsiteX0" fmla="*/ 59774 w 65021"/>
                <a:gd name="connsiteY0" fmla="*/ 0 h 10950"/>
                <a:gd name="connsiteX1" fmla="*/ 5247 w 65021"/>
                <a:gd name="connsiteY1" fmla="*/ 0 h 10950"/>
                <a:gd name="connsiteX2" fmla="*/ 0 w 65021"/>
                <a:gd name="connsiteY2" fmla="*/ 5476 h 10950"/>
                <a:gd name="connsiteX3" fmla="*/ 5247 w 65021"/>
                <a:gd name="connsiteY3" fmla="*/ 10951 h 10950"/>
                <a:gd name="connsiteX4" fmla="*/ 59774 w 65021"/>
                <a:gd name="connsiteY4" fmla="*/ 10951 h 10950"/>
                <a:gd name="connsiteX5" fmla="*/ 65021 w 65021"/>
                <a:gd name="connsiteY5" fmla="*/ 5476 h 10950"/>
                <a:gd name="connsiteX6" fmla="*/ 59774 w 65021"/>
                <a:gd name="connsiteY6" fmla="*/ 0 h 10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021" h="10950">
                  <a:moveTo>
                    <a:pt x="59774" y="0"/>
                  </a:moveTo>
                  <a:lnTo>
                    <a:pt x="5247" y="0"/>
                  </a:lnTo>
                  <a:cubicBezTo>
                    <a:pt x="1711" y="0"/>
                    <a:pt x="0" y="3650"/>
                    <a:pt x="0" y="5476"/>
                  </a:cubicBezTo>
                  <a:cubicBezTo>
                    <a:pt x="0" y="9126"/>
                    <a:pt x="1711" y="10951"/>
                    <a:pt x="5247" y="10951"/>
                  </a:cubicBezTo>
                  <a:lnTo>
                    <a:pt x="59774" y="10951"/>
                  </a:lnTo>
                  <a:cubicBezTo>
                    <a:pt x="63310" y="10951"/>
                    <a:pt x="65021" y="9126"/>
                    <a:pt x="65021" y="5476"/>
                  </a:cubicBezTo>
                  <a:cubicBezTo>
                    <a:pt x="65021" y="3650"/>
                    <a:pt x="63310" y="0"/>
                    <a:pt x="59774" y="0"/>
                  </a:cubicBezTo>
                </a:path>
              </a:pathLst>
            </a:custGeom>
            <a:grpFill/>
            <a:ln w="114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59709"/>
              <a:endParaRPr lang="en-AU" sz="1000">
                <a:solidFill>
                  <a:prstClr val="black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A52183FF-2488-6EE2-5EA3-F865D27B31D2}"/>
                </a:ext>
              </a:extLst>
            </p:cNvPr>
            <p:cNvSpPr/>
            <p:nvPr/>
          </p:nvSpPr>
          <p:spPr>
            <a:xfrm>
              <a:off x="4864679" y="4873531"/>
              <a:ext cx="65021" cy="10950"/>
            </a:xfrm>
            <a:custGeom>
              <a:avLst/>
              <a:gdLst>
                <a:gd name="connsiteX0" fmla="*/ 59774 w 65021"/>
                <a:gd name="connsiteY0" fmla="*/ 0 h 10950"/>
                <a:gd name="connsiteX1" fmla="*/ 5247 w 65021"/>
                <a:gd name="connsiteY1" fmla="*/ 0 h 10950"/>
                <a:gd name="connsiteX2" fmla="*/ 0 w 65021"/>
                <a:gd name="connsiteY2" fmla="*/ 5476 h 10950"/>
                <a:gd name="connsiteX3" fmla="*/ 5247 w 65021"/>
                <a:gd name="connsiteY3" fmla="*/ 10951 h 10950"/>
                <a:gd name="connsiteX4" fmla="*/ 59774 w 65021"/>
                <a:gd name="connsiteY4" fmla="*/ 10951 h 10950"/>
                <a:gd name="connsiteX5" fmla="*/ 65021 w 65021"/>
                <a:gd name="connsiteY5" fmla="*/ 5476 h 10950"/>
                <a:gd name="connsiteX6" fmla="*/ 59774 w 65021"/>
                <a:gd name="connsiteY6" fmla="*/ 0 h 10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021" h="10950">
                  <a:moveTo>
                    <a:pt x="59774" y="0"/>
                  </a:moveTo>
                  <a:lnTo>
                    <a:pt x="5247" y="0"/>
                  </a:lnTo>
                  <a:cubicBezTo>
                    <a:pt x="1711" y="0"/>
                    <a:pt x="0" y="1825"/>
                    <a:pt x="0" y="5476"/>
                  </a:cubicBezTo>
                  <a:cubicBezTo>
                    <a:pt x="0" y="7301"/>
                    <a:pt x="1711" y="10951"/>
                    <a:pt x="5247" y="10951"/>
                  </a:cubicBezTo>
                  <a:lnTo>
                    <a:pt x="59774" y="10951"/>
                  </a:lnTo>
                  <a:cubicBezTo>
                    <a:pt x="63310" y="10951"/>
                    <a:pt x="65021" y="7301"/>
                    <a:pt x="65021" y="5476"/>
                  </a:cubicBezTo>
                  <a:cubicBezTo>
                    <a:pt x="65021" y="1825"/>
                    <a:pt x="63310" y="0"/>
                    <a:pt x="59774" y="0"/>
                  </a:cubicBezTo>
                </a:path>
              </a:pathLst>
            </a:custGeom>
            <a:grpFill/>
            <a:ln w="114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59709"/>
              <a:endParaRPr lang="en-AU" sz="1000">
                <a:solidFill>
                  <a:prstClr val="black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F80BA770-FC4B-D7BD-BB43-FB0845B4A93E}"/>
                </a:ext>
              </a:extLst>
            </p:cNvPr>
            <p:cNvSpPr/>
            <p:nvPr/>
          </p:nvSpPr>
          <p:spPr>
            <a:xfrm>
              <a:off x="4864679" y="4905016"/>
              <a:ext cx="65021" cy="10038"/>
            </a:xfrm>
            <a:custGeom>
              <a:avLst/>
              <a:gdLst>
                <a:gd name="connsiteX0" fmla="*/ 59774 w 65021"/>
                <a:gd name="connsiteY0" fmla="*/ 0 h 10038"/>
                <a:gd name="connsiteX1" fmla="*/ 5247 w 65021"/>
                <a:gd name="connsiteY1" fmla="*/ 0 h 10038"/>
                <a:gd name="connsiteX2" fmla="*/ 0 w 65021"/>
                <a:gd name="connsiteY2" fmla="*/ 5019 h 10038"/>
                <a:gd name="connsiteX3" fmla="*/ 5247 w 65021"/>
                <a:gd name="connsiteY3" fmla="*/ 10038 h 10038"/>
                <a:gd name="connsiteX4" fmla="*/ 59774 w 65021"/>
                <a:gd name="connsiteY4" fmla="*/ 10038 h 10038"/>
                <a:gd name="connsiteX5" fmla="*/ 65021 w 65021"/>
                <a:gd name="connsiteY5" fmla="*/ 5019 h 10038"/>
                <a:gd name="connsiteX6" fmla="*/ 59774 w 65021"/>
                <a:gd name="connsiteY6" fmla="*/ 0 h 10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021" h="10038">
                  <a:moveTo>
                    <a:pt x="59774" y="0"/>
                  </a:moveTo>
                  <a:lnTo>
                    <a:pt x="5247" y="0"/>
                  </a:lnTo>
                  <a:cubicBezTo>
                    <a:pt x="1711" y="0"/>
                    <a:pt x="0" y="3308"/>
                    <a:pt x="0" y="5019"/>
                  </a:cubicBezTo>
                  <a:cubicBezTo>
                    <a:pt x="0" y="8327"/>
                    <a:pt x="1711" y="10038"/>
                    <a:pt x="5247" y="10038"/>
                  </a:cubicBezTo>
                  <a:lnTo>
                    <a:pt x="59774" y="10038"/>
                  </a:lnTo>
                  <a:cubicBezTo>
                    <a:pt x="63310" y="10038"/>
                    <a:pt x="65021" y="8327"/>
                    <a:pt x="65021" y="5019"/>
                  </a:cubicBezTo>
                  <a:cubicBezTo>
                    <a:pt x="65021" y="3308"/>
                    <a:pt x="63310" y="0"/>
                    <a:pt x="59774" y="0"/>
                  </a:cubicBezTo>
                </a:path>
              </a:pathLst>
            </a:custGeom>
            <a:grpFill/>
            <a:ln w="114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59709"/>
              <a:endParaRPr lang="en-AU" sz="1000">
                <a:solidFill>
                  <a:prstClr val="black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8EAC5D02-22B0-B39E-4817-1C3DC92ECA10}"/>
                </a:ext>
              </a:extLst>
            </p:cNvPr>
            <p:cNvSpPr/>
            <p:nvPr/>
          </p:nvSpPr>
          <p:spPr>
            <a:xfrm>
              <a:off x="4829659" y="4835659"/>
              <a:ext cx="19164" cy="19164"/>
            </a:xfrm>
            <a:custGeom>
              <a:avLst/>
              <a:gdLst>
                <a:gd name="connsiteX0" fmla="*/ 9582 w 19164"/>
                <a:gd name="connsiteY0" fmla="*/ 0 h 19164"/>
                <a:gd name="connsiteX1" fmla="*/ 0 w 19164"/>
                <a:gd name="connsiteY1" fmla="*/ 9582 h 19164"/>
                <a:gd name="connsiteX2" fmla="*/ 9582 w 19164"/>
                <a:gd name="connsiteY2" fmla="*/ 19165 h 19164"/>
                <a:gd name="connsiteX3" fmla="*/ 19164 w 19164"/>
                <a:gd name="connsiteY3" fmla="*/ 9582 h 19164"/>
                <a:gd name="connsiteX4" fmla="*/ 9582 w 19164"/>
                <a:gd name="connsiteY4" fmla="*/ 0 h 19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64" h="19164">
                  <a:moveTo>
                    <a:pt x="9582" y="0"/>
                  </a:moveTo>
                  <a:cubicBezTo>
                    <a:pt x="4335" y="0"/>
                    <a:pt x="0" y="4335"/>
                    <a:pt x="0" y="9582"/>
                  </a:cubicBezTo>
                  <a:cubicBezTo>
                    <a:pt x="0" y="14830"/>
                    <a:pt x="4335" y="19165"/>
                    <a:pt x="9582" y="19165"/>
                  </a:cubicBezTo>
                  <a:cubicBezTo>
                    <a:pt x="14829" y="19165"/>
                    <a:pt x="19164" y="14830"/>
                    <a:pt x="19164" y="9582"/>
                  </a:cubicBezTo>
                  <a:cubicBezTo>
                    <a:pt x="19164" y="4335"/>
                    <a:pt x="14829" y="0"/>
                    <a:pt x="9582" y="0"/>
                  </a:cubicBezTo>
                </a:path>
              </a:pathLst>
            </a:custGeom>
            <a:grpFill/>
            <a:ln w="114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59709"/>
              <a:endParaRPr lang="en-AU" sz="1000">
                <a:solidFill>
                  <a:prstClr val="black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929CEDB7-5119-FD80-8771-17CE56EA22AE}"/>
                </a:ext>
              </a:extLst>
            </p:cNvPr>
            <p:cNvSpPr/>
            <p:nvPr/>
          </p:nvSpPr>
          <p:spPr>
            <a:xfrm>
              <a:off x="4829659" y="4868512"/>
              <a:ext cx="19164" cy="19164"/>
            </a:xfrm>
            <a:custGeom>
              <a:avLst/>
              <a:gdLst>
                <a:gd name="connsiteX0" fmla="*/ 9582 w 19164"/>
                <a:gd name="connsiteY0" fmla="*/ 0 h 19164"/>
                <a:gd name="connsiteX1" fmla="*/ 0 w 19164"/>
                <a:gd name="connsiteY1" fmla="*/ 9582 h 19164"/>
                <a:gd name="connsiteX2" fmla="*/ 9582 w 19164"/>
                <a:gd name="connsiteY2" fmla="*/ 19164 h 19164"/>
                <a:gd name="connsiteX3" fmla="*/ 19164 w 19164"/>
                <a:gd name="connsiteY3" fmla="*/ 9582 h 19164"/>
                <a:gd name="connsiteX4" fmla="*/ 9582 w 19164"/>
                <a:gd name="connsiteY4" fmla="*/ 0 h 19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64" h="19164">
                  <a:moveTo>
                    <a:pt x="9582" y="0"/>
                  </a:moveTo>
                  <a:cubicBezTo>
                    <a:pt x="4335" y="0"/>
                    <a:pt x="0" y="4335"/>
                    <a:pt x="0" y="9582"/>
                  </a:cubicBezTo>
                  <a:cubicBezTo>
                    <a:pt x="0" y="14830"/>
                    <a:pt x="4335" y="19164"/>
                    <a:pt x="9582" y="19164"/>
                  </a:cubicBezTo>
                  <a:cubicBezTo>
                    <a:pt x="14829" y="19164"/>
                    <a:pt x="19164" y="14830"/>
                    <a:pt x="19164" y="9582"/>
                  </a:cubicBezTo>
                  <a:cubicBezTo>
                    <a:pt x="19164" y="4335"/>
                    <a:pt x="14829" y="0"/>
                    <a:pt x="9582" y="0"/>
                  </a:cubicBezTo>
                </a:path>
              </a:pathLst>
            </a:custGeom>
            <a:grpFill/>
            <a:ln w="114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59709"/>
              <a:endParaRPr lang="en-AU" sz="1000">
                <a:solidFill>
                  <a:prstClr val="black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6B7E83DD-ED96-F27C-6547-8B866AC27EF7}"/>
                </a:ext>
              </a:extLst>
            </p:cNvPr>
            <p:cNvSpPr/>
            <p:nvPr/>
          </p:nvSpPr>
          <p:spPr>
            <a:xfrm>
              <a:off x="4829659" y="4901707"/>
              <a:ext cx="19164" cy="18365"/>
            </a:xfrm>
            <a:custGeom>
              <a:avLst/>
              <a:gdLst>
                <a:gd name="connsiteX0" fmla="*/ 9582 w 19164"/>
                <a:gd name="connsiteY0" fmla="*/ 0 h 18365"/>
                <a:gd name="connsiteX1" fmla="*/ 0 w 19164"/>
                <a:gd name="connsiteY1" fmla="*/ 9240 h 18365"/>
                <a:gd name="connsiteX2" fmla="*/ 9582 w 19164"/>
                <a:gd name="connsiteY2" fmla="*/ 18366 h 18365"/>
                <a:gd name="connsiteX3" fmla="*/ 19164 w 19164"/>
                <a:gd name="connsiteY3" fmla="*/ 9240 h 18365"/>
                <a:gd name="connsiteX4" fmla="*/ 9582 w 19164"/>
                <a:gd name="connsiteY4" fmla="*/ 0 h 18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164" h="18365">
                  <a:moveTo>
                    <a:pt x="9582" y="0"/>
                  </a:moveTo>
                  <a:cubicBezTo>
                    <a:pt x="4335" y="0"/>
                    <a:pt x="0" y="4106"/>
                    <a:pt x="0" y="9240"/>
                  </a:cubicBezTo>
                  <a:cubicBezTo>
                    <a:pt x="0" y="14373"/>
                    <a:pt x="4335" y="18366"/>
                    <a:pt x="9582" y="18366"/>
                  </a:cubicBezTo>
                  <a:cubicBezTo>
                    <a:pt x="14829" y="18366"/>
                    <a:pt x="19164" y="14259"/>
                    <a:pt x="19164" y="9240"/>
                  </a:cubicBezTo>
                  <a:cubicBezTo>
                    <a:pt x="19164" y="4221"/>
                    <a:pt x="14829" y="0"/>
                    <a:pt x="9582" y="0"/>
                  </a:cubicBezTo>
                </a:path>
              </a:pathLst>
            </a:custGeom>
            <a:grpFill/>
            <a:ln w="114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59709"/>
              <a:endParaRPr lang="en-AU" sz="1000">
                <a:solidFill>
                  <a:prstClr val="black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DC45B4F-E0FC-86D2-58D5-879579F16C99}"/>
                </a:ext>
              </a:extLst>
            </p:cNvPr>
            <p:cNvSpPr/>
            <p:nvPr/>
          </p:nvSpPr>
          <p:spPr>
            <a:xfrm>
              <a:off x="4788250" y="4735731"/>
              <a:ext cx="192783" cy="265904"/>
            </a:xfrm>
            <a:custGeom>
              <a:avLst/>
              <a:gdLst>
                <a:gd name="connsiteX0" fmla="*/ 127420 w 192783"/>
                <a:gd name="connsiteY0" fmla="*/ 255295 h 265904"/>
                <a:gd name="connsiteX1" fmla="*/ 26465 w 192783"/>
                <a:gd name="connsiteY1" fmla="*/ 255295 h 265904"/>
                <a:gd name="connsiteX2" fmla="*/ 12434 w 192783"/>
                <a:gd name="connsiteY2" fmla="*/ 241265 h 265904"/>
                <a:gd name="connsiteX3" fmla="*/ 12434 w 192783"/>
                <a:gd name="connsiteY3" fmla="*/ 66732 h 265904"/>
                <a:gd name="connsiteX4" fmla="*/ 26465 w 192783"/>
                <a:gd name="connsiteY4" fmla="*/ 50877 h 265904"/>
                <a:gd name="connsiteX5" fmla="*/ 43690 w 192783"/>
                <a:gd name="connsiteY5" fmla="*/ 50877 h 265904"/>
                <a:gd name="connsiteX6" fmla="*/ 43690 w 192783"/>
                <a:gd name="connsiteY6" fmla="*/ 52588 h 265904"/>
                <a:gd name="connsiteX7" fmla="*/ 56010 w 192783"/>
                <a:gd name="connsiteY7" fmla="*/ 64908 h 265904"/>
                <a:gd name="connsiteX8" fmla="*/ 136888 w 192783"/>
                <a:gd name="connsiteY8" fmla="*/ 64908 h 265904"/>
                <a:gd name="connsiteX9" fmla="*/ 149207 w 192783"/>
                <a:gd name="connsiteY9" fmla="*/ 52588 h 265904"/>
                <a:gd name="connsiteX10" fmla="*/ 149207 w 192783"/>
                <a:gd name="connsiteY10" fmla="*/ 50877 h 265904"/>
                <a:gd name="connsiteX11" fmla="*/ 166433 w 192783"/>
                <a:gd name="connsiteY11" fmla="*/ 50877 h 265904"/>
                <a:gd name="connsiteX12" fmla="*/ 180464 w 192783"/>
                <a:gd name="connsiteY12" fmla="*/ 66732 h 265904"/>
                <a:gd name="connsiteX13" fmla="*/ 180464 w 192783"/>
                <a:gd name="connsiteY13" fmla="*/ 159474 h 265904"/>
                <a:gd name="connsiteX14" fmla="*/ 192783 w 192783"/>
                <a:gd name="connsiteY14" fmla="*/ 156622 h 265904"/>
                <a:gd name="connsiteX15" fmla="*/ 192783 w 192783"/>
                <a:gd name="connsiteY15" fmla="*/ 66732 h 265904"/>
                <a:gd name="connsiteX16" fmla="*/ 166433 w 192783"/>
                <a:gd name="connsiteY16" fmla="*/ 40382 h 265904"/>
                <a:gd name="connsiteX17" fmla="*/ 149207 w 192783"/>
                <a:gd name="connsiteY17" fmla="*/ 40382 h 265904"/>
                <a:gd name="connsiteX18" fmla="*/ 149207 w 192783"/>
                <a:gd name="connsiteY18" fmla="*/ 26351 h 265904"/>
                <a:gd name="connsiteX19" fmla="*/ 136888 w 192783"/>
                <a:gd name="connsiteY19" fmla="*/ 14031 h 265904"/>
                <a:gd name="connsiteX20" fmla="*/ 108712 w 192783"/>
                <a:gd name="connsiteY20" fmla="*/ 14031 h 265904"/>
                <a:gd name="connsiteX21" fmla="*/ 108712 w 192783"/>
                <a:gd name="connsiteY21" fmla="*/ 12320 h 265904"/>
                <a:gd name="connsiteX22" fmla="*/ 96392 w 192783"/>
                <a:gd name="connsiteY22" fmla="*/ 0 h 265904"/>
                <a:gd name="connsiteX23" fmla="*/ 84072 w 192783"/>
                <a:gd name="connsiteY23" fmla="*/ 12320 h 265904"/>
                <a:gd name="connsiteX24" fmla="*/ 84072 w 192783"/>
                <a:gd name="connsiteY24" fmla="*/ 14031 h 265904"/>
                <a:gd name="connsiteX25" fmla="*/ 55896 w 192783"/>
                <a:gd name="connsiteY25" fmla="*/ 14031 h 265904"/>
                <a:gd name="connsiteX26" fmla="*/ 43576 w 192783"/>
                <a:gd name="connsiteY26" fmla="*/ 26351 h 265904"/>
                <a:gd name="connsiteX27" fmla="*/ 43576 w 192783"/>
                <a:gd name="connsiteY27" fmla="*/ 40382 h 265904"/>
                <a:gd name="connsiteX28" fmla="*/ 26351 w 192783"/>
                <a:gd name="connsiteY28" fmla="*/ 40382 h 265904"/>
                <a:gd name="connsiteX29" fmla="*/ 0 w 192783"/>
                <a:gd name="connsiteY29" fmla="*/ 66732 h 265904"/>
                <a:gd name="connsiteX30" fmla="*/ 0 w 192783"/>
                <a:gd name="connsiteY30" fmla="*/ 241265 h 265904"/>
                <a:gd name="connsiteX31" fmla="*/ 26351 w 192783"/>
                <a:gd name="connsiteY31" fmla="*/ 265904 h 265904"/>
                <a:gd name="connsiteX32" fmla="*/ 130385 w 192783"/>
                <a:gd name="connsiteY32" fmla="*/ 265904 h 265904"/>
                <a:gd name="connsiteX33" fmla="*/ 127306 w 192783"/>
                <a:gd name="connsiteY33" fmla="*/ 255295 h 265904"/>
                <a:gd name="connsiteX34" fmla="*/ 54185 w 192783"/>
                <a:gd name="connsiteY34" fmla="*/ 24526 h 265904"/>
                <a:gd name="connsiteX35" fmla="*/ 138599 w 192783"/>
                <a:gd name="connsiteY35" fmla="*/ 24526 h 265904"/>
                <a:gd name="connsiteX36" fmla="*/ 138599 w 192783"/>
                <a:gd name="connsiteY36" fmla="*/ 54413 h 265904"/>
                <a:gd name="connsiteX37" fmla="*/ 54185 w 192783"/>
                <a:gd name="connsiteY37" fmla="*/ 54413 h 265904"/>
                <a:gd name="connsiteX38" fmla="*/ 54185 w 192783"/>
                <a:gd name="connsiteY38" fmla="*/ 24526 h 265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2783" h="265904">
                  <a:moveTo>
                    <a:pt x="127420" y="255295"/>
                  </a:moveTo>
                  <a:lnTo>
                    <a:pt x="26465" y="255295"/>
                  </a:lnTo>
                  <a:cubicBezTo>
                    <a:pt x="17681" y="255295"/>
                    <a:pt x="12434" y="248223"/>
                    <a:pt x="12434" y="241265"/>
                  </a:cubicBezTo>
                  <a:lnTo>
                    <a:pt x="12434" y="66732"/>
                  </a:lnTo>
                  <a:cubicBezTo>
                    <a:pt x="12434" y="57949"/>
                    <a:pt x="17681" y="50877"/>
                    <a:pt x="26465" y="50877"/>
                  </a:cubicBezTo>
                  <a:lnTo>
                    <a:pt x="43690" y="50877"/>
                  </a:lnTo>
                  <a:lnTo>
                    <a:pt x="43690" y="52588"/>
                  </a:lnTo>
                  <a:cubicBezTo>
                    <a:pt x="43690" y="59660"/>
                    <a:pt x="48937" y="64908"/>
                    <a:pt x="56010" y="64908"/>
                  </a:cubicBezTo>
                  <a:lnTo>
                    <a:pt x="136888" y="64908"/>
                  </a:lnTo>
                  <a:cubicBezTo>
                    <a:pt x="143960" y="64908"/>
                    <a:pt x="149207" y="59660"/>
                    <a:pt x="149207" y="52588"/>
                  </a:cubicBezTo>
                  <a:lnTo>
                    <a:pt x="149207" y="50877"/>
                  </a:lnTo>
                  <a:lnTo>
                    <a:pt x="166433" y="50877"/>
                  </a:lnTo>
                  <a:cubicBezTo>
                    <a:pt x="175216" y="50877"/>
                    <a:pt x="180464" y="57949"/>
                    <a:pt x="180464" y="66732"/>
                  </a:cubicBezTo>
                  <a:lnTo>
                    <a:pt x="180464" y="159474"/>
                  </a:lnTo>
                  <a:lnTo>
                    <a:pt x="192783" y="156622"/>
                  </a:lnTo>
                  <a:lnTo>
                    <a:pt x="192783" y="66732"/>
                  </a:lnTo>
                  <a:cubicBezTo>
                    <a:pt x="192783" y="52702"/>
                    <a:pt x="180464" y="40382"/>
                    <a:pt x="166433" y="40382"/>
                  </a:cubicBezTo>
                  <a:lnTo>
                    <a:pt x="149207" y="40382"/>
                  </a:lnTo>
                  <a:lnTo>
                    <a:pt x="149207" y="26351"/>
                  </a:lnTo>
                  <a:cubicBezTo>
                    <a:pt x="149207" y="19278"/>
                    <a:pt x="143960" y="14031"/>
                    <a:pt x="136888" y="14031"/>
                  </a:cubicBezTo>
                  <a:lnTo>
                    <a:pt x="108712" y="14031"/>
                  </a:lnTo>
                  <a:lnTo>
                    <a:pt x="108712" y="12320"/>
                  </a:lnTo>
                  <a:cubicBezTo>
                    <a:pt x="108712" y="5247"/>
                    <a:pt x="103464" y="0"/>
                    <a:pt x="96392" y="0"/>
                  </a:cubicBezTo>
                  <a:cubicBezTo>
                    <a:pt x="89319" y="0"/>
                    <a:pt x="84072" y="5247"/>
                    <a:pt x="84072" y="12320"/>
                  </a:cubicBezTo>
                  <a:lnTo>
                    <a:pt x="84072" y="14031"/>
                  </a:lnTo>
                  <a:lnTo>
                    <a:pt x="55896" y="14031"/>
                  </a:lnTo>
                  <a:cubicBezTo>
                    <a:pt x="48823" y="14031"/>
                    <a:pt x="43576" y="19278"/>
                    <a:pt x="43576" y="26351"/>
                  </a:cubicBezTo>
                  <a:lnTo>
                    <a:pt x="43576" y="40382"/>
                  </a:lnTo>
                  <a:lnTo>
                    <a:pt x="26351" y="40382"/>
                  </a:lnTo>
                  <a:cubicBezTo>
                    <a:pt x="12320" y="40382"/>
                    <a:pt x="0" y="52702"/>
                    <a:pt x="0" y="66732"/>
                  </a:cubicBezTo>
                  <a:lnTo>
                    <a:pt x="0" y="241265"/>
                  </a:lnTo>
                  <a:cubicBezTo>
                    <a:pt x="0" y="255295"/>
                    <a:pt x="12320" y="265904"/>
                    <a:pt x="26351" y="265904"/>
                  </a:cubicBezTo>
                  <a:lnTo>
                    <a:pt x="130385" y="265904"/>
                  </a:lnTo>
                  <a:lnTo>
                    <a:pt x="127306" y="255295"/>
                  </a:lnTo>
                  <a:close/>
                  <a:moveTo>
                    <a:pt x="54185" y="24526"/>
                  </a:moveTo>
                  <a:lnTo>
                    <a:pt x="138599" y="24526"/>
                  </a:lnTo>
                  <a:lnTo>
                    <a:pt x="138599" y="54413"/>
                  </a:lnTo>
                  <a:lnTo>
                    <a:pt x="54185" y="54413"/>
                  </a:lnTo>
                  <a:lnTo>
                    <a:pt x="54185" y="24526"/>
                  </a:lnTo>
                  <a:close/>
                </a:path>
              </a:pathLst>
            </a:custGeom>
            <a:grpFill/>
            <a:ln w="114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59709"/>
              <a:endParaRPr lang="en-AU" sz="1000">
                <a:solidFill>
                  <a:prstClr val="black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64076944-2542-8801-1788-2AC095B489F6}"/>
                </a:ext>
              </a:extLst>
            </p:cNvPr>
            <p:cNvSpPr/>
            <p:nvPr/>
          </p:nvSpPr>
          <p:spPr>
            <a:xfrm>
              <a:off x="4921259" y="4902620"/>
              <a:ext cx="133009" cy="133009"/>
            </a:xfrm>
            <a:custGeom>
              <a:avLst/>
              <a:gdLst>
                <a:gd name="connsiteX0" fmla="*/ 129473 w 133009"/>
                <a:gd name="connsiteY0" fmla="*/ 45059 h 133009"/>
                <a:gd name="connsiteX1" fmla="*/ 126849 w 133009"/>
                <a:gd name="connsiteY1" fmla="*/ 42321 h 133009"/>
                <a:gd name="connsiteX2" fmla="*/ 122971 w 133009"/>
                <a:gd name="connsiteY2" fmla="*/ 42321 h 133009"/>
                <a:gd name="connsiteX3" fmla="*/ 120119 w 133009"/>
                <a:gd name="connsiteY3" fmla="*/ 48823 h 133009"/>
                <a:gd name="connsiteX4" fmla="*/ 122971 w 133009"/>
                <a:gd name="connsiteY4" fmla="*/ 66619 h 133009"/>
                <a:gd name="connsiteX5" fmla="*/ 66504 w 133009"/>
                <a:gd name="connsiteY5" fmla="*/ 123085 h 133009"/>
                <a:gd name="connsiteX6" fmla="*/ 10038 w 133009"/>
                <a:gd name="connsiteY6" fmla="*/ 66619 h 133009"/>
                <a:gd name="connsiteX7" fmla="*/ 66504 w 133009"/>
                <a:gd name="connsiteY7" fmla="*/ 10153 h 133009"/>
                <a:gd name="connsiteX8" fmla="*/ 105974 w 133009"/>
                <a:gd name="connsiteY8" fmla="*/ 26237 h 133009"/>
                <a:gd name="connsiteX9" fmla="*/ 109510 w 133009"/>
                <a:gd name="connsiteY9" fmla="*/ 27834 h 133009"/>
                <a:gd name="connsiteX10" fmla="*/ 109510 w 133009"/>
                <a:gd name="connsiteY10" fmla="*/ 27834 h 133009"/>
                <a:gd name="connsiteX11" fmla="*/ 113046 w 133009"/>
                <a:gd name="connsiteY11" fmla="*/ 26465 h 133009"/>
                <a:gd name="connsiteX12" fmla="*/ 114643 w 133009"/>
                <a:gd name="connsiteY12" fmla="*/ 22929 h 133009"/>
                <a:gd name="connsiteX13" fmla="*/ 113275 w 133009"/>
                <a:gd name="connsiteY13" fmla="*/ 19278 h 133009"/>
                <a:gd name="connsiteX14" fmla="*/ 66504 w 133009"/>
                <a:gd name="connsiteY14" fmla="*/ 0 h 133009"/>
                <a:gd name="connsiteX15" fmla="*/ 0 w 133009"/>
                <a:gd name="connsiteY15" fmla="*/ 66505 h 133009"/>
                <a:gd name="connsiteX16" fmla="*/ 66504 w 133009"/>
                <a:gd name="connsiteY16" fmla="*/ 133009 h 133009"/>
                <a:gd name="connsiteX17" fmla="*/ 133009 w 133009"/>
                <a:gd name="connsiteY17" fmla="*/ 66505 h 133009"/>
                <a:gd name="connsiteX18" fmla="*/ 129473 w 133009"/>
                <a:gd name="connsiteY18" fmla="*/ 45059 h 133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3009" h="133009">
                  <a:moveTo>
                    <a:pt x="129473" y="45059"/>
                  </a:moveTo>
                  <a:cubicBezTo>
                    <a:pt x="129017" y="43804"/>
                    <a:pt x="127990" y="42777"/>
                    <a:pt x="126849" y="42321"/>
                  </a:cubicBezTo>
                  <a:cubicBezTo>
                    <a:pt x="125595" y="41751"/>
                    <a:pt x="124225" y="41751"/>
                    <a:pt x="122971" y="42321"/>
                  </a:cubicBezTo>
                  <a:cubicBezTo>
                    <a:pt x="120347" y="43348"/>
                    <a:pt x="119092" y="46314"/>
                    <a:pt x="120119" y="48823"/>
                  </a:cubicBezTo>
                  <a:cubicBezTo>
                    <a:pt x="122743" y="55440"/>
                    <a:pt x="122971" y="59432"/>
                    <a:pt x="122971" y="66619"/>
                  </a:cubicBezTo>
                  <a:cubicBezTo>
                    <a:pt x="122971" y="97761"/>
                    <a:pt x="97647" y="123085"/>
                    <a:pt x="66504" y="123085"/>
                  </a:cubicBezTo>
                  <a:cubicBezTo>
                    <a:pt x="35363" y="123085"/>
                    <a:pt x="10038" y="97761"/>
                    <a:pt x="10038" y="66619"/>
                  </a:cubicBezTo>
                  <a:cubicBezTo>
                    <a:pt x="10038" y="35477"/>
                    <a:pt x="35363" y="10153"/>
                    <a:pt x="66504" y="10153"/>
                  </a:cubicBezTo>
                  <a:cubicBezTo>
                    <a:pt x="82133" y="10153"/>
                    <a:pt x="95251" y="14830"/>
                    <a:pt x="105974" y="26237"/>
                  </a:cubicBezTo>
                  <a:cubicBezTo>
                    <a:pt x="106886" y="27264"/>
                    <a:pt x="108141" y="27834"/>
                    <a:pt x="109510" y="27834"/>
                  </a:cubicBezTo>
                  <a:lnTo>
                    <a:pt x="109510" y="27834"/>
                  </a:lnTo>
                  <a:cubicBezTo>
                    <a:pt x="110879" y="27834"/>
                    <a:pt x="112134" y="27378"/>
                    <a:pt x="113046" y="26465"/>
                  </a:cubicBezTo>
                  <a:cubicBezTo>
                    <a:pt x="114073" y="25553"/>
                    <a:pt x="114643" y="24298"/>
                    <a:pt x="114643" y="22929"/>
                  </a:cubicBezTo>
                  <a:cubicBezTo>
                    <a:pt x="114643" y="21560"/>
                    <a:pt x="114187" y="20305"/>
                    <a:pt x="113275" y="19278"/>
                  </a:cubicBezTo>
                  <a:cubicBezTo>
                    <a:pt x="100613" y="5818"/>
                    <a:pt x="84870" y="0"/>
                    <a:pt x="66504" y="0"/>
                  </a:cubicBezTo>
                  <a:cubicBezTo>
                    <a:pt x="29773" y="0"/>
                    <a:pt x="0" y="29887"/>
                    <a:pt x="0" y="66505"/>
                  </a:cubicBezTo>
                  <a:cubicBezTo>
                    <a:pt x="0" y="103122"/>
                    <a:pt x="29887" y="133009"/>
                    <a:pt x="66504" y="133009"/>
                  </a:cubicBezTo>
                  <a:cubicBezTo>
                    <a:pt x="103122" y="133009"/>
                    <a:pt x="133009" y="103122"/>
                    <a:pt x="133009" y="66505"/>
                  </a:cubicBezTo>
                  <a:cubicBezTo>
                    <a:pt x="133009" y="58064"/>
                    <a:pt x="132553" y="52816"/>
                    <a:pt x="129473" y="45059"/>
                  </a:cubicBezTo>
                </a:path>
              </a:pathLst>
            </a:custGeom>
            <a:grpFill/>
            <a:ln w="114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59709"/>
              <a:endParaRPr lang="en-AU" sz="1000">
                <a:solidFill>
                  <a:prstClr val="black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58596DC8-A288-FCE6-F3E9-E43F2DA54A2B}"/>
                </a:ext>
              </a:extLst>
            </p:cNvPr>
            <p:cNvSpPr/>
            <p:nvPr/>
          </p:nvSpPr>
          <p:spPr>
            <a:xfrm>
              <a:off x="4953428" y="4923153"/>
              <a:ext cx="98516" cy="71295"/>
            </a:xfrm>
            <a:custGeom>
              <a:avLst/>
              <a:gdLst>
                <a:gd name="connsiteX0" fmla="*/ 8555 w 98516"/>
                <a:gd name="connsiteY0" fmla="*/ 33766 h 71295"/>
                <a:gd name="connsiteX1" fmla="*/ 1483 w 98516"/>
                <a:gd name="connsiteY1" fmla="*/ 33766 h 71295"/>
                <a:gd name="connsiteX2" fmla="*/ 0 w 98516"/>
                <a:gd name="connsiteY2" fmla="*/ 37302 h 71295"/>
                <a:gd name="connsiteX3" fmla="*/ 1483 w 98516"/>
                <a:gd name="connsiteY3" fmla="*/ 40838 h 71295"/>
                <a:gd name="connsiteX4" fmla="*/ 30686 w 98516"/>
                <a:gd name="connsiteY4" fmla="*/ 69813 h 71295"/>
                <a:gd name="connsiteX5" fmla="*/ 34336 w 98516"/>
                <a:gd name="connsiteY5" fmla="*/ 71296 h 71295"/>
                <a:gd name="connsiteX6" fmla="*/ 37872 w 98516"/>
                <a:gd name="connsiteY6" fmla="*/ 69813 h 71295"/>
                <a:gd name="connsiteX7" fmla="*/ 97076 w 98516"/>
                <a:gd name="connsiteY7" fmla="*/ 8555 h 71295"/>
                <a:gd name="connsiteX8" fmla="*/ 96962 w 98516"/>
                <a:gd name="connsiteY8" fmla="*/ 1483 h 71295"/>
                <a:gd name="connsiteX9" fmla="*/ 93426 w 98516"/>
                <a:gd name="connsiteY9" fmla="*/ 0 h 71295"/>
                <a:gd name="connsiteX10" fmla="*/ 89890 w 98516"/>
                <a:gd name="connsiteY10" fmla="*/ 1483 h 71295"/>
                <a:gd name="connsiteX11" fmla="*/ 34222 w 98516"/>
                <a:gd name="connsiteY11" fmla="*/ 59090 h 71295"/>
                <a:gd name="connsiteX12" fmla="*/ 8555 w 98516"/>
                <a:gd name="connsiteY12" fmla="*/ 33766 h 71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8516" h="71295">
                  <a:moveTo>
                    <a:pt x="8555" y="33766"/>
                  </a:moveTo>
                  <a:cubicBezTo>
                    <a:pt x="6616" y="31826"/>
                    <a:pt x="3422" y="31826"/>
                    <a:pt x="1483" y="33766"/>
                  </a:cubicBezTo>
                  <a:cubicBezTo>
                    <a:pt x="570" y="34678"/>
                    <a:pt x="0" y="35933"/>
                    <a:pt x="0" y="37302"/>
                  </a:cubicBezTo>
                  <a:cubicBezTo>
                    <a:pt x="0" y="38671"/>
                    <a:pt x="570" y="39926"/>
                    <a:pt x="1483" y="40838"/>
                  </a:cubicBezTo>
                  <a:lnTo>
                    <a:pt x="30686" y="69813"/>
                  </a:lnTo>
                  <a:cubicBezTo>
                    <a:pt x="31598" y="70725"/>
                    <a:pt x="32853" y="71296"/>
                    <a:pt x="34336" y="71296"/>
                  </a:cubicBezTo>
                  <a:cubicBezTo>
                    <a:pt x="35705" y="71296"/>
                    <a:pt x="36960" y="70725"/>
                    <a:pt x="37872" y="69813"/>
                  </a:cubicBezTo>
                  <a:lnTo>
                    <a:pt x="97076" y="8555"/>
                  </a:lnTo>
                  <a:cubicBezTo>
                    <a:pt x="99015" y="6502"/>
                    <a:pt x="99015" y="3308"/>
                    <a:pt x="96962" y="1483"/>
                  </a:cubicBezTo>
                  <a:cubicBezTo>
                    <a:pt x="95821" y="342"/>
                    <a:pt x="94224" y="114"/>
                    <a:pt x="93426" y="0"/>
                  </a:cubicBezTo>
                  <a:cubicBezTo>
                    <a:pt x="92057" y="0"/>
                    <a:pt x="90802" y="570"/>
                    <a:pt x="89890" y="1483"/>
                  </a:cubicBezTo>
                  <a:lnTo>
                    <a:pt x="34222" y="59090"/>
                  </a:lnTo>
                  <a:lnTo>
                    <a:pt x="8555" y="33766"/>
                  </a:lnTo>
                  <a:close/>
                </a:path>
              </a:pathLst>
            </a:custGeom>
            <a:grpFill/>
            <a:ln w="114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59709"/>
              <a:endParaRPr lang="en-AU" sz="1000">
                <a:solidFill>
                  <a:prstClr val="black"/>
                </a:solidFill>
              </a:endParaRPr>
            </a:p>
          </p:txBody>
        </p:sp>
      </p:grp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F7560025-AE11-586B-9D57-AA9D19A70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84" idx="4"/>
          </p:cNvCxnSpPr>
          <p:nvPr/>
        </p:nvCxnSpPr>
        <p:spPr>
          <a:xfrm>
            <a:off x="13363492" y="3625684"/>
            <a:ext cx="0" cy="68987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0F4D567-E81C-592B-157E-C6893C2B1E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335936" y="3625684"/>
            <a:ext cx="0" cy="689870"/>
          </a:xfrm>
          <a:prstGeom prst="line">
            <a:avLst/>
          </a:prstGeom>
          <a:ln w="19050">
            <a:solidFill>
              <a:srgbClr val="46576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aphic 10">
            <a:extLst>
              <a:ext uri="{FF2B5EF4-FFF2-40B4-BE49-F238E27FC236}">
                <a16:creationId xmlns:a16="http://schemas.microsoft.com/office/drawing/2014/main" id="{5287A747-CA6A-CDA4-9DB2-6EAC6D5B93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503925" y="3866607"/>
            <a:ext cx="297737" cy="353447"/>
            <a:chOff x="2249667" y="6608812"/>
            <a:chExt cx="260315" cy="309023"/>
          </a:xfrm>
          <a:solidFill>
            <a:schemeClr val="accent5"/>
          </a:solidFill>
        </p:grpSpPr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FFE2C1E-19BF-8D91-857F-2E872321CF1C}"/>
                </a:ext>
              </a:extLst>
            </p:cNvPr>
            <p:cNvSpPr/>
            <p:nvPr/>
          </p:nvSpPr>
          <p:spPr>
            <a:xfrm>
              <a:off x="2389065" y="6796918"/>
              <a:ext cx="120917" cy="120917"/>
            </a:xfrm>
            <a:custGeom>
              <a:avLst/>
              <a:gdLst>
                <a:gd name="connsiteX0" fmla="*/ 117723 w 120917"/>
                <a:gd name="connsiteY0" fmla="*/ 40838 h 120917"/>
                <a:gd name="connsiteX1" fmla="*/ 115328 w 120917"/>
                <a:gd name="connsiteY1" fmla="*/ 38328 h 120917"/>
                <a:gd name="connsiteX2" fmla="*/ 111792 w 120917"/>
                <a:gd name="connsiteY2" fmla="*/ 38328 h 120917"/>
                <a:gd name="connsiteX3" fmla="*/ 109168 w 120917"/>
                <a:gd name="connsiteY3" fmla="*/ 44260 h 120917"/>
                <a:gd name="connsiteX4" fmla="*/ 111792 w 120917"/>
                <a:gd name="connsiteY4" fmla="*/ 60459 h 120917"/>
                <a:gd name="connsiteX5" fmla="*/ 60459 w 120917"/>
                <a:gd name="connsiteY5" fmla="*/ 111792 h 120917"/>
                <a:gd name="connsiteX6" fmla="*/ 9126 w 120917"/>
                <a:gd name="connsiteY6" fmla="*/ 60459 h 120917"/>
                <a:gd name="connsiteX7" fmla="*/ 60459 w 120917"/>
                <a:gd name="connsiteY7" fmla="*/ 9126 h 120917"/>
                <a:gd name="connsiteX8" fmla="*/ 96392 w 120917"/>
                <a:gd name="connsiteY8" fmla="*/ 23727 h 120917"/>
                <a:gd name="connsiteX9" fmla="*/ 99586 w 120917"/>
                <a:gd name="connsiteY9" fmla="*/ 25210 h 120917"/>
                <a:gd name="connsiteX10" fmla="*/ 99586 w 120917"/>
                <a:gd name="connsiteY10" fmla="*/ 25210 h 120917"/>
                <a:gd name="connsiteX11" fmla="*/ 102780 w 120917"/>
                <a:gd name="connsiteY11" fmla="*/ 23955 h 120917"/>
                <a:gd name="connsiteX12" fmla="*/ 104263 w 120917"/>
                <a:gd name="connsiteY12" fmla="*/ 20761 h 120917"/>
                <a:gd name="connsiteX13" fmla="*/ 103008 w 120917"/>
                <a:gd name="connsiteY13" fmla="*/ 17453 h 120917"/>
                <a:gd name="connsiteX14" fmla="*/ 60459 w 120917"/>
                <a:gd name="connsiteY14" fmla="*/ 0 h 120917"/>
                <a:gd name="connsiteX15" fmla="*/ 0 w 120917"/>
                <a:gd name="connsiteY15" fmla="*/ 60459 h 120917"/>
                <a:gd name="connsiteX16" fmla="*/ 60459 w 120917"/>
                <a:gd name="connsiteY16" fmla="*/ 120917 h 120917"/>
                <a:gd name="connsiteX17" fmla="*/ 120917 w 120917"/>
                <a:gd name="connsiteY17" fmla="*/ 60459 h 120917"/>
                <a:gd name="connsiteX18" fmla="*/ 117723 w 120917"/>
                <a:gd name="connsiteY18" fmla="*/ 40952 h 120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0917" h="120917">
                  <a:moveTo>
                    <a:pt x="117723" y="40838"/>
                  </a:moveTo>
                  <a:cubicBezTo>
                    <a:pt x="117267" y="39697"/>
                    <a:pt x="116469" y="38784"/>
                    <a:pt x="115328" y="38328"/>
                  </a:cubicBezTo>
                  <a:cubicBezTo>
                    <a:pt x="114187" y="37872"/>
                    <a:pt x="112932" y="37872"/>
                    <a:pt x="111792" y="38328"/>
                  </a:cubicBezTo>
                  <a:cubicBezTo>
                    <a:pt x="109396" y="39241"/>
                    <a:pt x="108255" y="41979"/>
                    <a:pt x="109168" y="44260"/>
                  </a:cubicBezTo>
                  <a:cubicBezTo>
                    <a:pt x="111563" y="50192"/>
                    <a:pt x="111792" y="53956"/>
                    <a:pt x="111792" y="60459"/>
                  </a:cubicBezTo>
                  <a:cubicBezTo>
                    <a:pt x="111792" y="88749"/>
                    <a:pt x="88749" y="111792"/>
                    <a:pt x="60459" y="111792"/>
                  </a:cubicBezTo>
                  <a:cubicBezTo>
                    <a:pt x="32169" y="111792"/>
                    <a:pt x="9126" y="88749"/>
                    <a:pt x="9126" y="60459"/>
                  </a:cubicBezTo>
                  <a:cubicBezTo>
                    <a:pt x="9126" y="32169"/>
                    <a:pt x="32169" y="9126"/>
                    <a:pt x="60459" y="9126"/>
                  </a:cubicBezTo>
                  <a:cubicBezTo>
                    <a:pt x="74718" y="9126"/>
                    <a:pt x="86581" y="13346"/>
                    <a:pt x="96392" y="23727"/>
                  </a:cubicBezTo>
                  <a:cubicBezTo>
                    <a:pt x="97190" y="24639"/>
                    <a:pt x="98331" y="25096"/>
                    <a:pt x="99586" y="25210"/>
                  </a:cubicBezTo>
                  <a:lnTo>
                    <a:pt x="99586" y="25210"/>
                  </a:lnTo>
                  <a:cubicBezTo>
                    <a:pt x="100841" y="25210"/>
                    <a:pt x="101981" y="24754"/>
                    <a:pt x="102780" y="23955"/>
                  </a:cubicBezTo>
                  <a:cubicBezTo>
                    <a:pt x="103692" y="23156"/>
                    <a:pt x="104149" y="22016"/>
                    <a:pt x="104263" y="20761"/>
                  </a:cubicBezTo>
                  <a:cubicBezTo>
                    <a:pt x="104263" y="19506"/>
                    <a:pt x="103806" y="18366"/>
                    <a:pt x="103008" y="17453"/>
                  </a:cubicBezTo>
                  <a:cubicBezTo>
                    <a:pt x="91487" y="5247"/>
                    <a:pt x="77227" y="0"/>
                    <a:pt x="60459" y="0"/>
                  </a:cubicBezTo>
                  <a:cubicBezTo>
                    <a:pt x="27149" y="0"/>
                    <a:pt x="0" y="27149"/>
                    <a:pt x="0" y="60459"/>
                  </a:cubicBezTo>
                  <a:cubicBezTo>
                    <a:pt x="0" y="93768"/>
                    <a:pt x="27149" y="120917"/>
                    <a:pt x="60459" y="120917"/>
                  </a:cubicBezTo>
                  <a:cubicBezTo>
                    <a:pt x="93768" y="120917"/>
                    <a:pt x="120917" y="93768"/>
                    <a:pt x="120917" y="60459"/>
                  </a:cubicBezTo>
                  <a:cubicBezTo>
                    <a:pt x="120917" y="52816"/>
                    <a:pt x="120461" y="48024"/>
                    <a:pt x="117723" y="40952"/>
                  </a:cubicBezTo>
                </a:path>
              </a:pathLst>
            </a:custGeom>
            <a:grpFill/>
            <a:ln w="114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59709"/>
              <a:endParaRPr lang="en-AU" sz="1000">
                <a:solidFill>
                  <a:prstClr val="black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3E1A3498-64CE-B401-1401-64EA1F71BF99}"/>
                </a:ext>
              </a:extLst>
            </p:cNvPr>
            <p:cNvSpPr/>
            <p:nvPr/>
          </p:nvSpPr>
          <p:spPr>
            <a:xfrm>
              <a:off x="2418381" y="6815284"/>
              <a:ext cx="89575" cy="64793"/>
            </a:xfrm>
            <a:custGeom>
              <a:avLst/>
              <a:gdLst>
                <a:gd name="connsiteX0" fmla="*/ 7871 w 89575"/>
                <a:gd name="connsiteY0" fmla="*/ 30800 h 64793"/>
                <a:gd name="connsiteX1" fmla="*/ 1369 w 89575"/>
                <a:gd name="connsiteY1" fmla="*/ 30800 h 64793"/>
                <a:gd name="connsiteX2" fmla="*/ 0 w 89575"/>
                <a:gd name="connsiteY2" fmla="*/ 33994 h 64793"/>
                <a:gd name="connsiteX3" fmla="*/ 1369 w 89575"/>
                <a:gd name="connsiteY3" fmla="*/ 37188 h 64793"/>
                <a:gd name="connsiteX4" fmla="*/ 27948 w 89575"/>
                <a:gd name="connsiteY4" fmla="*/ 63425 h 64793"/>
                <a:gd name="connsiteX5" fmla="*/ 31256 w 89575"/>
                <a:gd name="connsiteY5" fmla="*/ 64793 h 64793"/>
                <a:gd name="connsiteX6" fmla="*/ 34450 w 89575"/>
                <a:gd name="connsiteY6" fmla="*/ 63425 h 64793"/>
                <a:gd name="connsiteX7" fmla="*/ 88293 w 89575"/>
                <a:gd name="connsiteY7" fmla="*/ 7757 h 64793"/>
                <a:gd name="connsiteX8" fmla="*/ 88293 w 89575"/>
                <a:gd name="connsiteY8" fmla="*/ 1255 h 64793"/>
                <a:gd name="connsiteX9" fmla="*/ 84984 w 89575"/>
                <a:gd name="connsiteY9" fmla="*/ 0 h 64793"/>
                <a:gd name="connsiteX10" fmla="*/ 81790 w 89575"/>
                <a:gd name="connsiteY10" fmla="*/ 1369 h 64793"/>
                <a:gd name="connsiteX11" fmla="*/ 31256 w 89575"/>
                <a:gd name="connsiteY11" fmla="*/ 53615 h 64793"/>
                <a:gd name="connsiteX12" fmla="*/ 7985 w 89575"/>
                <a:gd name="connsiteY12" fmla="*/ 30572 h 647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575" h="64793">
                  <a:moveTo>
                    <a:pt x="7871" y="30800"/>
                  </a:moveTo>
                  <a:cubicBezTo>
                    <a:pt x="6046" y="28974"/>
                    <a:pt x="3194" y="29089"/>
                    <a:pt x="1369" y="30800"/>
                  </a:cubicBezTo>
                  <a:cubicBezTo>
                    <a:pt x="456" y="31713"/>
                    <a:pt x="0" y="32853"/>
                    <a:pt x="0" y="33994"/>
                  </a:cubicBezTo>
                  <a:cubicBezTo>
                    <a:pt x="0" y="35249"/>
                    <a:pt x="456" y="36389"/>
                    <a:pt x="1369" y="37188"/>
                  </a:cubicBezTo>
                  <a:lnTo>
                    <a:pt x="27948" y="63425"/>
                  </a:lnTo>
                  <a:cubicBezTo>
                    <a:pt x="28860" y="64337"/>
                    <a:pt x="30001" y="64793"/>
                    <a:pt x="31256" y="64793"/>
                  </a:cubicBezTo>
                  <a:cubicBezTo>
                    <a:pt x="32511" y="64793"/>
                    <a:pt x="33652" y="64223"/>
                    <a:pt x="34450" y="63425"/>
                  </a:cubicBezTo>
                  <a:lnTo>
                    <a:pt x="88293" y="7757"/>
                  </a:lnTo>
                  <a:cubicBezTo>
                    <a:pt x="90004" y="5932"/>
                    <a:pt x="90004" y="3080"/>
                    <a:pt x="88293" y="1255"/>
                  </a:cubicBezTo>
                  <a:cubicBezTo>
                    <a:pt x="87266" y="228"/>
                    <a:pt x="85783" y="0"/>
                    <a:pt x="84984" y="0"/>
                  </a:cubicBezTo>
                  <a:cubicBezTo>
                    <a:pt x="83730" y="0"/>
                    <a:pt x="82589" y="570"/>
                    <a:pt x="81790" y="1369"/>
                  </a:cubicBezTo>
                  <a:lnTo>
                    <a:pt x="31256" y="53615"/>
                  </a:lnTo>
                  <a:lnTo>
                    <a:pt x="7985" y="30572"/>
                  </a:lnTo>
                  <a:close/>
                </a:path>
              </a:pathLst>
            </a:custGeom>
            <a:grpFill/>
            <a:ln w="114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59709"/>
              <a:endParaRPr lang="en-AU" sz="1000">
                <a:solidFill>
                  <a:prstClr val="black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0F1C3FCB-C119-570A-00F2-87C8B7DA002D}"/>
                </a:ext>
              </a:extLst>
            </p:cNvPr>
            <p:cNvSpPr/>
            <p:nvPr/>
          </p:nvSpPr>
          <p:spPr>
            <a:xfrm>
              <a:off x="2249667" y="6608812"/>
              <a:ext cx="220845" cy="270923"/>
            </a:xfrm>
            <a:custGeom>
              <a:avLst/>
              <a:gdLst>
                <a:gd name="connsiteX0" fmla="*/ 132211 w 220845"/>
                <a:gd name="connsiteY0" fmla="*/ 261227 h 270923"/>
                <a:gd name="connsiteX1" fmla="*/ 22586 w 220845"/>
                <a:gd name="connsiteY1" fmla="*/ 261227 h 270923"/>
                <a:gd name="connsiteX2" fmla="*/ 9696 w 220845"/>
                <a:gd name="connsiteY2" fmla="*/ 248337 h 270923"/>
                <a:gd name="connsiteX3" fmla="*/ 9696 w 220845"/>
                <a:gd name="connsiteY3" fmla="*/ 22586 h 270923"/>
                <a:gd name="connsiteX4" fmla="*/ 22586 w 220845"/>
                <a:gd name="connsiteY4" fmla="*/ 9696 h 270923"/>
                <a:gd name="connsiteX5" fmla="*/ 137002 w 220845"/>
                <a:gd name="connsiteY5" fmla="*/ 9696 h 270923"/>
                <a:gd name="connsiteX6" fmla="*/ 137002 w 220845"/>
                <a:gd name="connsiteY6" fmla="*/ 72550 h 270923"/>
                <a:gd name="connsiteX7" fmla="*/ 148295 w 220845"/>
                <a:gd name="connsiteY7" fmla="*/ 83843 h 270923"/>
                <a:gd name="connsiteX8" fmla="*/ 211149 w 220845"/>
                <a:gd name="connsiteY8" fmla="*/ 83843 h 270923"/>
                <a:gd name="connsiteX9" fmla="*/ 211149 w 220845"/>
                <a:gd name="connsiteY9" fmla="*/ 182403 h 270923"/>
                <a:gd name="connsiteX10" fmla="*/ 220846 w 220845"/>
                <a:gd name="connsiteY10" fmla="*/ 182403 h 270923"/>
                <a:gd name="connsiteX11" fmla="*/ 220846 w 220845"/>
                <a:gd name="connsiteY11" fmla="*/ 67759 h 270923"/>
                <a:gd name="connsiteX12" fmla="*/ 159588 w 220845"/>
                <a:gd name="connsiteY12" fmla="*/ 0 h 270923"/>
                <a:gd name="connsiteX13" fmla="*/ 22586 w 220845"/>
                <a:gd name="connsiteY13" fmla="*/ 0 h 270923"/>
                <a:gd name="connsiteX14" fmla="*/ 0 w 220845"/>
                <a:gd name="connsiteY14" fmla="*/ 22586 h 270923"/>
                <a:gd name="connsiteX15" fmla="*/ 0 w 220845"/>
                <a:gd name="connsiteY15" fmla="*/ 248337 h 270923"/>
                <a:gd name="connsiteX16" fmla="*/ 22586 w 220845"/>
                <a:gd name="connsiteY16" fmla="*/ 270924 h 270923"/>
                <a:gd name="connsiteX17" fmla="*/ 132211 w 220845"/>
                <a:gd name="connsiteY17" fmla="*/ 270924 h 270923"/>
                <a:gd name="connsiteX18" fmla="*/ 132211 w 220845"/>
                <a:gd name="connsiteY18" fmla="*/ 261227 h 270923"/>
                <a:gd name="connsiteX19" fmla="*/ 146698 w 220845"/>
                <a:gd name="connsiteY19" fmla="*/ 9696 h 270923"/>
                <a:gd name="connsiteX20" fmla="*/ 154797 w 220845"/>
                <a:gd name="connsiteY20" fmla="*/ 9696 h 270923"/>
                <a:gd name="connsiteX21" fmla="*/ 212860 w 220845"/>
                <a:gd name="connsiteY21" fmla="*/ 74148 h 270923"/>
                <a:gd name="connsiteX22" fmla="*/ 146812 w 220845"/>
                <a:gd name="connsiteY22" fmla="*/ 74148 h 270923"/>
                <a:gd name="connsiteX23" fmla="*/ 146812 w 220845"/>
                <a:gd name="connsiteY23" fmla="*/ 9696 h 270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20845" h="270923">
                  <a:moveTo>
                    <a:pt x="132211" y="261227"/>
                  </a:moveTo>
                  <a:lnTo>
                    <a:pt x="22586" y="261227"/>
                  </a:lnTo>
                  <a:cubicBezTo>
                    <a:pt x="16084" y="261227"/>
                    <a:pt x="9696" y="254725"/>
                    <a:pt x="9696" y="248337"/>
                  </a:cubicBezTo>
                  <a:lnTo>
                    <a:pt x="9696" y="22586"/>
                  </a:lnTo>
                  <a:cubicBezTo>
                    <a:pt x="9696" y="16084"/>
                    <a:pt x="16198" y="9696"/>
                    <a:pt x="22586" y="9696"/>
                  </a:cubicBezTo>
                  <a:lnTo>
                    <a:pt x="137002" y="9696"/>
                  </a:lnTo>
                  <a:lnTo>
                    <a:pt x="137002" y="72550"/>
                  </a:lnTo>
                  <a:cubicBezTo>
                    <a:pt x="137002" y="79053"/>
                    <a:pt x="141793" y="83843"/>
                    <a:pt x="148295" y="83843"/>
                  </a:cubicBezTo>
                  <a:lnTo>
                    <a:pt x="211149" y="83843"/>
                  </a:lnTo>
                  <a:lnTo>
                    <a:pt x="211149" y="182403"/>
                  </a:lnTo>
                  <a:lnTo>
                    <a:pt x="220846" y="182403"/>
                  </a:lnTo>
                  <a:lnTo>
                    <a:pt x="220846" y="67759"/>
                  </a:lnTo>
                  <a:lnTo>
                    <a:pt x="159588" y="0"/>
                  </a:lnTo>
                  <a:lnTo>
                    <a:pt x="22586" y="0"/>
                  </a:lnTo>
                  <a:cubicBezTo>
                    <a:pt x="9696" y="0"/>
                    <a:pt x="0" y="9696"/>
                    <a:pt x="0" y="22586"/>
                  </a:cubicBezTo>
                  <a:lnTo>
                    <a:pt x="0" y="248337"/>
                  </a:lnTo>
                  <a:cubicBezTo>
                    <a:pt x="0" y="261227"/>
                    <a:pt x="9696" y="270924"/>
                    <a:pt x="22586" y="270924"/>
                  </a:cubicBezTo>
                  <a:lnTo>
                    <a:pt x="132211" y="270924"/>
                  </a:lnTo>
                  <a:lnTo>
                    <a:pt x="132211" y="261227"/>
                  </a:lnTo>
                  <a:close/>
                  <a:moveTo>
                    <a:pt x="146698" y="9696"/>
                  </a:moveTo>
                  <a:lnTo>
                    <a:pt x="154797" y="9696"/>
                  </a:lnTo>
                  <a:lnTo>
                    <a:pt x="212860" y="74148"/>
                  </a:lnTo>
                  <a:lnTo>
                    <a:pt x="146812" y="74148"/>
                  </a:lnTo>
                  <a:lnTo>
                    <a:pt x="146812" y="9696"/>
                  </a:lnTo>
                  <a:close/>
                </a:path>
              </a:pathLst>
            </a:custGeom>
            <a:grpFill/>
            <a:ln w="1140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59709"/>
              <a:endParaRPr lang="en-AU" sz="1000">
                <a:solidFill>
                  <a:prstClr val="black"/>
                </a:solidFill>
              </a:endParaRPr>
            </a:p>
          </p:txBody>
        </p:sp>
      </p:grp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FDCFF65-134C-F8B1-A7F7-EB866B5967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21" idx="4"/>
          </p:cNvCxnSpPr>
          <p:nvPr/>
        </p:nvCxnSpPr>
        <p:spPr>
          <a:xfrm>
            <a:off x="11610136" y="3625684"/>
            <a:ext cx="0" cy="689870"/>
          </a:xfrm>
          <a:prstGeom prst="line">
            <a:avLst/>
          </a:prstGeom>
          <a:ln w="19050">
            <a:solidFill>
              <a:srgbClr val="46576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0D4057B-A831-F300-E00E-1335F12083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30" idx="6"/>
            <a:endCxn id="8" idx="2"/>
          </p:cNvCxnSpPr>
          <p:nvPr/>
        </p:nvCxnSpPr>
        <p:spPr>
          <a:xfrm>
            <a:off x="918883" y="3472043"/>
            <a:ext cx="970437" cy="0"/>
          </a:xfrm>
          <a:prstGeom prst="line">
            <a:avLst/>
          </a:prstGeom>
          <a:ln w="38100">
            <a:solidFill>
              <a:srgbClr val="4657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E94BF3E-D725-1624-401A-067E6296A0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8" idx="6"/>
            <a:endCxn id="33" idx="2"/>
          </p:cNvCxnSpPr>
          <p:nvPr/>
        </p:nvCxnSpPr>
        <p:spPr>
          <a:xfrm>
            <a:off x="2196602" y="3472043"/>
            <a:ext cx="1299405" cy="0"/>
          </a:xfrm>
          <a:prstGeom prst="line">
            <a:avLst/>
          </a:prstGeom>
          <a:ln w="38100">
            <a:solidFill>
              <a:srgbClr val="46576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1FBBBAE-CD4D-68D6-F9C5-D776EDDC70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33" idx="6"/>
            <a:endCxn id="34" idx="1"/>
          </p:cNvCxnSpPr>
          <p:nvPr/>
        </p:nvCxnSpPr>
        <p:spPr>
          <a:xfrm>
            <a:off x="3803289" y="3472043"/>
            <a:ext cx="1367477" cy="0"/>
          </a:xfrm>
          <a:prstGeom prst="line">
            <a:avLst/>
          </a:prstGeom>
          <a:ln w="38100">
            <a:solidFill>
              <a:srgbClr val="4657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2D62FAF-69E4-8836-29B3-854024616B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34" idx="3"/>
          </p:cNvCxnSpPr>
          <p:nvPr/>
        </p:nvCxnSpPr>
        <p:spPr>
          <a:xfrm>
            <a:off x="5568076" y="3472043"/>
            <a:ext cx="1403656" cy="0"/>
          </a:xfrm>
          <a:prstGeom prst="line">
            <a:avLst/>
          </a:prstGeom>
          <a:ln w="38100">
            <a:solidFill>
              <a:srgbClr val="46576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C897E77-EA7D-22B4-ABCF-7C29333010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endCxn id="76" idx="2"/>
          </p:cNvCxnSpPr>
          <p:nvPr/>
        </p:nvCxnSpPr>
        <p:spPr>
          <a:xfrm>
            <a:off x="5873998" y="3472043"/>
            <a:ext cx="1303545" cy="0"/>
          </a:xfrm>
          <a:prstGeom prst="line">
            <a:avLst/>
          </a:prstGeom>
          <a:ln w="38100">
            <a:solidFill>
              <a:srgbClr val="46576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1124B74-2E99-A700-0B10-4A6B2544B7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30" idx="4"/>
          </p:cNvCxnSpPr>
          <p:nvPr/>
        </p:nvCxnSpPr>
        <p:spPr>
          <a:xfrm>
            <a:off x="755700" y="3625684"/>
            <a:ext cx="0" cy="689870"/>
          </a:xfrm>
          <a:prstGeom prst="line">
            <a:avLst/>
          </a:prstGeom>
          <a:ln w="19050">
            <a:solidFill>
              <a:srgbClr val="46576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E30ADB3-4187-93B5-D373-12B3806AED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8100000">
            <a:off x="1229386" y="3412278"/>
            <a:ext cx="132318" cy="124581"/>
          </a:xfrm>
          <a:custGeom>
            <a:avLst/>
            <a:gdLst>
              <a:gd name="connsiteX0" fmla="*/ 118533 w 118533"/>
              <a:gd name="connsiteY0" fmla="*/ 0 h 93133"/>
              <a:gd name="connsiteX1" fmla="*/ 0 w 118533"/>
              <a:gd name="connsiteY1" fmla="*/ 0 h 93133"/>
              <a:gd name="connsiteX2" fmla="*/ 0 w 118533"/>
              <a:gd name="connsiteY2" fmla="*/ 93133 h 93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8533" h="93133">
                <a:moveTo>
                  <a:pt x="118533" y="0"/>
                </a:moveTo>
                <a:lnTo>
                  <a:pt x="0" y="0"/>
                </a:lnTo>
                <a:lnTo>
                  <a:pt x="0" y="93133"/>
                </a:lnTo>
              </a:path>
            </a:pathLst>
          </a:custGeom>
          <a:noFill/>
          <a:ln cap="rnd">
            <a:solidFill>
              <a:srgbClr val="46576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000"/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6B06DB40-62FD-5EC2-07A3-99761D0B4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5888" y="3779327"/>
            <a:ext cx="371577" cy="371577"/>
          </a:xfrm>
          <a:prstGeom prst="rect">
            <a:avLst/>
          </a:prstGeom>
        </p:spPr>
      </p:pic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6081711-CF3A-5F10-8153-9DDEFAE4D2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345809" y="4315554"/>
            <a:ext cx="0" cy="2453382"/>
          </a:xfrm>
          <a:prstGeom prst="line">
            <a:avLst/>
          </a:prstGeom>
          <a:ln w="19050">
            <a:solidFill>
              <a:srgbClr val="46576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C817DDD-FCD0-5289-BBDF-E9268CD1D7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39" idx="4"/>
          </p:cNvCxnSpPr>
          <p:nvPr/>
        </p:nvCxnSpPr>
        <p:spPr>
          <a:xfrm>
            <a:off x="9296551" y="3625684"/>
            <a:ext cx="0" cy="689870"/>
          </a:xfrm>
          <a:prstGeom prst="line">
            <a:avLst/>
          </a:prstGeom>
          <a:ln w="19050">
            <a:solidFill>
              <a:srgbClr val="46576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Graphic 41">
            <a:extLst>
              <a:ext uri="{FF2B5EF4-FFF2-40B4-BE49-F238E27FC236}">
                <a16:creationId xmlns:a16="http://schemas.microsoft.com/office/drawing/2014/main" id="{C52157B5-7B83-69A8-DAC3-1428BEBB2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701504" y="3839473"/>
            <a:ext cx="369726" cy="369726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4C8567D0-EB45-5E81-C9DB-C7595697E7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13471157" y="3788140"/>
            <a:ext cx="399234" cy="399234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55E47594-131F-7302-B1C0-3F1C6974F4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2184892" y="3879924"/>
            <a:ext cx="328668" cy="328668"/>
            <a:chOff x="6161088" y="3078163"/>
            <a:chExt cx="536575" cy="536575"/>
          </a:xfrm>
          <a:solidFill>
            <a:schemeClr val="accent5"/>
          </a:solidFill>
        </p:grpSpPr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009C22D2-A2C9-BCDC-7103-C38553034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61088" y="3078163"/>
              <a:ext cx="536575" cy="536575"/>
            </a:xfrm>
            <a:custGeom>
              <a:avLst/>
              <a:gdLst>
                <a:gd name="T0" fmla="*/ 164 w 170"/>
                <a:gd name="T1" fmla="*/ 54 h 170"/>
                <a:gd name="T2" fmla="*/ 160 w 170"/>
                <a:gd name="T3" fmla="*/ 52 h 170"/>
                <a:gd name="T4" fmla="*/ 158 w 170"/>
                <a:gd name="T5" fmla="*/ 56 h 170"/>
                <a:gd name="T6" fmla="*/ 163 w 170"/>
                <a:gd name="T7" fmla="*/ 85 h 170"/>
                <a:gd name="T8" fmla="*/ 85 w 170"/>
                <a:gd name="T9" fmla="*/ 163 h 170"/>
                <a:gd name="T10" fmla="*/ 7 w 170"/>
                <a:gd name="T11" fmla="*/ 85 h 170"/>
                <a:gd name="T12" fmla="*/ 85 w 170"/>
                <a:gd name="T13" fmla="*/ 7 h 170"/>
                <a:gd name="T14" fmla="*/ 142 w 170"/>
                <a:gd name="T15" fmla="*/ 31 h 170"/>
                <a:gd name="T16" fmla="*/ 147 w 170"/>
                <a:gd name="T17" fmla="*/ 31 h 170"/>
                <a:gd name="T18" fmla="*/ 147 w 170"/>
                <a:gd name="T19" fmla="*/ 26 h 170"/>
                <a:gd name="T20" fmla="*/ 85 w 170"/>
                <a:gd name="T21" fmla="*/ 0 h 170"/>
                <a:gd name="T22" fmla="*/ 0 w 170"/>
                <a:gd name="T23" fmla="*/ 85 h 170"/>
                <a:gd name="T24" fmla="*/ 85 w 170"/>
                <a:gd name="T25" fmla="*/ 170 h 170"/>
                <a:gd name="T26" fmla="*/ 170 w 170"/>
                <a:gd name="T27" fmla="*/ 85 h 170"/>
                <a:gd name="T28" fmla="*/ 164 w 170"/>
                <a:gd name="T29" fmla="*/ 5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0" h="170">
                  <a:moveTo>
                    <a:pt x="164" y="54"/>
                  </a:moveTo>
                  <a:cubicBezTo>
                    <a:pt x="164" y="52"/>
                    <a:pt x="162" y="51"/>
                    <a:pt x="160" y="52"/>
                  </a:cubicBezTo>
                  <a:cubicBezTo>
                    <a:pt x="158" y="52"/>
                    <a:pt x="157" y="54"/>
                    <a:pt x="158" y="56"/>
                  </a:cubicBezTo>
                  <a:cubicBezTo>
                    <a:pt x="161" y="65"/>
                    <a:pt x="163" y="75"/>
                    <a:pt x="163" y="85"/>
                  </a:cubicBezTo>
                  <a:cubicBezTo>
                    <a:pt x="163" y="128"/>
                    <a:pt x="128" y="163"/>
                    <a:pt x="85" y="163"/>
                  </a:cubicBezTo>
                  <a:cubicBezTo>
                    <a:pt x="42" y="163"/>
                    <a:pt x="7" y="128"/>
                    <a:pt x="7" y="85"/>
                  </a:cubicBezTo>
                  <a:cubicBezTo>
                    <a:pt x="7" y="42"/>
                    <a:pt x="42" y="7"/>
                    <a:pt x="85" y="7"/>
                  </a:cubicBezTo>
                  <a:cubicBezTo>
                    <a:pt x="107" y="7"/>
                    <a:pt x="127" y="15"/>
                    <a:pt x="142" y="31"/>
                  </a:cubicBezTo>
                  <a:cubicBezTo>
                    <a:pt x="143" y="32"/>
                    <a:pt x="145" y="33"/>
                    <a:pt x="147" y="31"/>
                  </a:cubicBezTo>
                  <a:cubicBezTo>
                    <a:pt x="148" y="30"/>
                    <a:pt x="148" y="28"/>
                    <a:pt x="147" y="26"/>
                  </a:cubicBezTo>
                  <a:cubicBezTo>
                    <a:pt x="131" y="9"/>
                    <a:pt x="109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2" y="170"/>
                    <a:pt x="170" y="132"/>
                    <a:pt x="170" y="85"/>
                  </a:cubicBezTo>
                  <a:cubicBezTo>
                    <a:pt x="170" y="74"/>
                    <a:pt x="168" y="64"/>
                    <a:pt x="164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9306" tIns="64653" rIns="129306" bIns="64653" numCol="1" anchor="t" anchorCtr="0" compatLnSpc="1">
              <a:prstTxWarp prst="textNoShape">
                <a:avLst/>
              </a:prstTxWarp>
            </a:bodyPr>
            <a:lstStyle/>
            <a:p>
              <a:endParaRPr lang="en-AU" sz="1000"/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0AB00234-24C0-8F48-8F71-DAF039B25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6026" y="3163888"/>
              <a:ext cx="392113" cy="277813"/>
            </a:xfrm>
            <a:custGeom>
              <a:avLst/>
              <a:gdLst>
                <a:gd name="T0" fmla="*/ 6 w 124"/>
                <a:gd name="T1" fmla="*/ 44 h 88"/>
                <a:gd name="T2" fmla="*/ 1 w 124"/>
                <a:gd name="T3" fmla="*/ 44 h 88"/>
                <a:gd name="T4" fmla="*/ 1 w 124"/>
                <a:gd name="T5" fmla="*/ 49 h 88"/>
                <a:gd name="T6" fmla="*/ 40 w 124"/>
                <a:gd name="T7" fmla="*/ 87 h 88"/>
                <a:gd name="T8" fmla="*/ 42 w 124"/>
                <a:gd name="T9" fmla="*/ 88 h 88"/>
                <a:gd name="T10" fmla="*/ 42 w 124"/>
                <a:gd name="T11" fmla="*/ 88 h 88"/>
                <a:gd name="T12" fmla="*/ 45 w 124"/>
                <a:gd name="T13" fmla="*/ 87 h 88"/>
                <a:gd name="T14" fmla="*/ 123 w 124"/>
                <a:gd name="T15" fmla="*/ 6 h 88"/>
                <a:gd name="T16" fmla="*/ 123 w 124"/>
                <a:gd name="T17" fmla="*/ 1 h 88"/>
                <a:gd name="T18" fmla="*/ 118 w 124"/>
                <a:gd name="T19" fmla="*/ 1 h 88"/>
                <a:gd name="T20" fmla="*/ 42 w 124"/>
                <a:gd name="T21" fmla="*/ 80 h 88"/>
                <a:gd name="T22" fmla="*/ 6 w 124"/>
                <a:gd name="T23" fmla="*/ 4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8">
                  <a:moveTo>
                    <a:pt x="6" y="44"/>
                  </a:moveTo>
                  <a:cubicBezTo>
                    <a:pt x="4" y="42"/>
                    <a:pt x="2" y="43"/>
                    <a:pt x="1" y="44"/>
                  </a:cubicBezTo>
                  <a:cubicBezTo>
                    <a:pt x="0" y="45"/>
                    <a:pt x="0" y="47"/>
                    <a:pt x="1" y="49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88"/>
                    <a:pt x="41" y="88"/>
                    <a:pt x="42" y="88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43" y="88"/>
                    <a:pt x="44" y="88"/>
                    <a:pt x="45" y="87"/>
                  </a:cubicBezTo>
                  <a:cubicBezTo>
                    <a:pt x="123" y="6"/>
                    <a:pt x="123" y="6"/>
                    <a:pt x="123" y="6"/>
                  </a:cubicBezTo>
                  <a:cubicBezTo>
                    <a:pt x="124" y="4"/>
                    <a:pt x="124" y="2"/>
                    <a:pt x="123" y="1"/>
                  </a:cubicBezTo>
                  <a:cubicBezTo>
                    <a:pt x="122" y="0"/>
                    <a:pt x="120" y="0"/>
                    <a:pt x="118" y="1"/>
                  </a:cubicBezTo>
                  <a:cubicBezTo>
                    <a:pt x="42" y="80"/>
                    <a:pt x="42" y="80"/>
                    <a:pt x="42" y="80"/>
                  </a:cubicBezTo>
                  <a:lnTo>
                    <a:pt x="6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9306" tIns="64653" rIns="129306" bIns="64653" numCol="1" anchor="t" anchorCtr="0" compatLnSpc="1">
              <a:prstTxWarp prst="textNoShape">
                <a:avLst/>
              </a:prstTxWarp>
            </a:bodyPr>
            <a:lstStyle/>
            <a:p>
              <a:endParaRPr lang="en-AU" sz="1000"/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36C7C37-6904-D15D-EF66-55CC0D7BEB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2169186" y="5244733"/>
            <a:ext cx="363767" cy="328668"/>
            <a:chOff x="4027488" y="1122363"/>
            <a:chExt cx="542926" cy="490538"/>
          </a:xfrm>
          <a:solidFill>
            <a:schemeClr val="accent6"/>
          </a:solidFill>
        </p:grpSpPr>
        <p:sp>
          <p:nvSpPr>
            <p:cNvPr id="71" name="Freeform 15">
              <a:extLst>
                <a:ext uri="{FF2B5EF4-FFF2-40B4-BE49-F238E27FC236}">
                  <a16:creationId xmlns:a16="http://schemas.microsoft.com/office/drawing/2014/main" id="{73FBE985-A9B7-9157-8E50-734A15453B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27488" y="1247776"/>
              <a:ext cx="396875" cy="365125"/>
            </a:xfrm>
            <a:custGeom>
              <a:avLst/>
              <a:gdLst>
                <a:gd name="T0" fmla="*/ 62 w 124"/>
                <a:gd name="T1" fmla="*/ 0 h 114"/>
                <a:gd name="T2" fmla="*/ 0 w 124"/>
                <a:gd name="T3" fmla="*/ 51 h 114"/>
                <a:gd name="T4" fmla="*/ 19 w 124"/>
                <a:gd name="T5" fmla="*/ 88 h 114"/>
                <a:gd name="T6" fmla="*/ 20 w 124"/>
                <a:gd name="T7" fmla="*/ 88 h 114"/>
                <a:gd name="T8" fmla="*/ 19 w 124"/>
                <a:gd name="T9" fmla="*/ 89 h 114"/>
                <a:gd name="T10" fmla="*/ 12 w 124"/>
                <a:gd name="T11" fmla="*/ 114 h 114"/>
                <a:gd name="T12" fmla="*/ 46 w 124"/>
                <a:gd name="T13" fmla="*/ 101 h 114"/>
                <a:gd name="T14" fmla="*/ 46 w 124"/>
                <a:gd name="T15" fmla="*/ 101 h 114"/>
                <a:gd name="T16" fmla="*/ 62 w 124"/>
                <a:gd name="T17" fmla="*/ 103 h 114"/>
                <a:gd name="T18" fmla="*/ 124 w 124"/>
                <a:gd name="T19" fmla="*/ 51 h 114"/>
                <a:gd name="T20" fmla="*/ 62 w 124"/>
                <a:gd name="T21" fmla="*/ 0 h 114"/>
                <a:gd name="T22" fmla="*/ 62 w 124"/>
                <a:gd name="T23" fmla="*/ 96 h 114"/>
                <a:gd name="T24" fmla="*/ 48 w 124"/>
                <a:gd name="T25" fmla="*/ 95 h 114"/>
                <a:gd name="T26" fmla="*/ 44 w 124"/>
                <a:gd name="T27" fmla="*/ 95 h 114"/>
                <a:gd name="T28" fmla="*/ 23 w 124"/>
                <a:gd name="T29" fmla="*/ 103 h 114"/>
                <a:gd name="T30" fmla="*/ 26 w 124"/>
                <a:gd name="T31" fmla="*/ 91 h 114"/>
                <a:gd name="T32" fmla="*/ 24 w 124"/>
                <a:gd name="T33" fmla="*/ 83 h 114"/>
                <a:gd name="T34" fmla="*/ 7 w 124"/>
                <a:gd name="T35" fmla="*/ 51 h 114"/>
                <a:gd name="T36" fmla="*/ 62 w 124"/>
                <a:gd name="T37" fmla="*/ 7 h 114"/>
                <a:gd name="T38" fmla="*/ 117 w 124"/>
                <a:gd name="T39" fmla="*/ 51 h 114"/>
                <a:gd name="T40" fmla="*/ 62 w 124"/>
                <a:gd name="T41" fmla="*/ 9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4" h="114">
                  <a:moveTo>
                    <a:pt x="62" y="0"/>
                  </a:moveTo>
                  <a:cubicBezTo>
                    <a:pt x="28" y="0"/>
                    <a:pt x="0" y="23"/>
                    <a:pt x="0" y="51"/>
                  </a:cubicBezTo>
                  <a:cubicBezTo>
                    <a:pt x="0" y="66"/>
                    <a:pt x="7" y="78"/>
                    <a:pt x="19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19" y="89"/>
                    <a:pt x="19" y="89"/>
                    <a:pt x="19" y="89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2" y="102"/>
                    <a:pt x="57" y="103"/>
                    <a:pt x="62" y="103"/>
                  </a:cubicBezTo>
                  <a:cubicBezTo>
                    <a:pt x="96" y="103"/>
                    <a:pt x="124" y="79"/>
                    <a:pt x="124" y="51"/>
                  </a:cubicBezTo>
                  <a:cubicBezTo>
                    <a:pt x="124" y="23"/>
                    <a:pt x="96" y="0"/>
                    <a:pt x="62" y="0"/>
                  </a:cubicBezTo>
                  <a:close/>
                  <a:moveTo>
                    <a:pt x="62" y="96"/>
                  </a:moveTo>
                  <a:cubicBezTo>
                    <a:pt x="57" y="96"/>
                    <a:pt x="53" y="96"/>
                    <a:pt x="48" y="95"/>
                  </a:cubicBezTo>
                  <a:cubicBezTo>
                    <a:pt x="46" y="95"/>
                    <a:pt x="45" y="95"/>
                    <a:pt x="44" y="95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26" y="88"/>
                    <a:pt x="25" y="85"/>
                    <a:pt x="24" y="83"/>
                  </a:cubicBezTo>
                  <a:cubicBezTo>
                    <a:pt x="13" y="75"/>
                    <a:pt x="7" y="63"/>
                    <a:pt x="7" y="51"/>
                  </a:cubicBezTo>
                  <a:cubicBezTo>
                    <a:pt x="7" y="27"/>
                    <a:pt x="32" y="7"/>
                    <a:pt x="62" y="7"/>
                  </a:cubicBezTo>
                  <a:cubicBezTo>
                    <a:pt x="93" y="7"/>
                    <a:pt x="117" y="27"/>
                    <a:pt x="117" y="51"/>
                  </a:cubicBezTo>
                  <a:cubicBezTo>
                    <a:pt x="117" y="76"/>
                    <a:pt x="93" y="96"/>
                    <a:pt x="6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9306" tIns="64653" rIns="129306" bIns="64653" numCol="1" anchor="t" anchorCtr="0" compatLnSpc="1">
              <a:prstTxWarp prst="textNoShape">
                <a:avLst/>
              </a:prstTxWarp>
            </a:bodyPr>
            <a:lstStyle/>
            <a:p>
              <a:endParaRPr lang="en-AU" sz="1000"/>
            </a:p>
          </p:txBody>
        </p:sp>
        <p:sp>
          <p:nvSpPr>
            <p:cNvPr id="72" name="Freeform 16">
              <a:extLst>
                <a:ext uri="{FF2B5EF4-FFF2-40B4-BE49-F238E27FC236}">
                  <a16:creationId xmlns:a16="http://schemas.microsoft.com/office/drawing/2014/main" id="{D066DF13-A763-8FC7-B350-AA2F3077D5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7351" y="1122363"/>
              <a:ext cx="373063" cy="365125"/>
            </a:xfrm>
            <a:custGeom>
              <a:avLst/>
              <a:gdLst>
                <a:gd name="T0" fmla="*/ 98 w 117"/>
                <a:gd name="T1" fmla="*/ 89 h 114"/>
                <a:gd name="T2" fmla="*/ 117 w 117"/>
                <a:gd name="T3" fmla="*/ 52 h 114"/>
                <a:gd name="T4" fmla="*/ 56 w 117"/>
                <a:gd name="T5" fmla="*/ 0 h 114"/>
                <a:gd name="T6" fmla="*/ 0 w 117"/>
                <a:gd name="T7" fmla="*/ 30 h 114"/>
                <a:gd name="T8" fmla="*/ 8 w 117"/>
                <a:gd name="T9" fmla="*/ 30 h 114"/>
                <a:gd name="T10" fmla="*/ 56 w 117"/>
                <a:gd name="T11" fmla="*/ 7 h 114"/>
                <a:gd name="T12" fmla="*/ 111 w 117"/>
                <a:gd name="T13" fmla="*/ 52 h 114"/>
                <a:gd name="T14" fmla="*/ 94 w 117"/>
                <a:gd name="T15" fmla="*/ 83 h 114"/>
                <a:gd name="T16" fmla="*/ 92 w 117"/>
                <a:gd name="T17" fmla="*/ 91 h 114"/>
                <a:gd name="T18" fmla="*/ 96 w 117"/>
                <a:gd name="T19" fmla="*/ 103 h 114"/>
                <a:gd name="T20" fmla="*/ 79 w 117"/>
                <a:gd name="T21" fmla="*/ 97 h 114"/>
                <a:gd name="T22" fmla="*/ 78 w 117"/>
                <a:gd name="T23" fmla="*/ 103 h 114"/>
                <a:gd name="T24" fmla="*/ 106 w 117"/>
                <a:gd name="T25" fmla="*/ 114 h 114"/>
                <a:gd name="T26" fmla="*/ 98 w 117"/>
                <a:gd name="T27" fmla="*/ 8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7" h="114">
                  <a:moveTo>
                    <a:pt x="98" y="89"/>
                  </a:moveTo>
                  <a:cubicBezTo>
                    <a:pt x="111" y="79"/>
                    <a:pt x="117" y="65"/>
                    <a:pt x="117" y="52"/>
                  </a:cubicBezTo>
                  <a:cubicBezTo>
                    <a:pt x="117" y="23"/>
                    <a:pt x="90" y="0"/>
                    <a:pt x="56" y="0"/>
                  </a:cubicBezTo>
                  <a:cubicBezTo>
                    <a:pt x="32" y="0"/>
                    <a:pt x="10" y="12"/>
                    <a:pt x="0" y="30"/>
                  </a:cubicBezTo>
                  <a:cubicBezTo>
                    <a:pt x="3" y="30"/>
                    <a:pt x="5" y="30"/>
                    <a:pt x="8" y="30"/>
                  </a:cubicBezTo>
                  <a:cubicBezTo>
                    <a:pt x="18" y="16"/>
                    <a:pt x="36" y="7"/>
                    <a:pt x="56" y="7"/>
                  </a:cubicBezTo>
                  <a:cubicBezTo>
                    <a:pt x="86" y="7"/>
                    <a:pt x="111" y="27"/>
                    <a:pt x="111" y="52"/>
                  </a:cubicBezTo>
                  <a:cubicBezTo>
                    <a:pt x="111" y="64"/>
                    <a:pt x="105" y="74"/>
                    <a:pt x="94" y="83"/>
                  </a:cubicBezTo>
                  <a:cubicBezTo>
                    <a:pt x="92" y="85"/>
                    <a:pt x="91" y="88"/>
                    <a:pt x="92" y="91"/>
                  </a:cubicBezTo>
                  <a:cubicBezTo>
                    <a:pt x="96" y="103"/>
                    <a:pt x="96" y="103"/>
                    <a:pt x="96" y="103"/>
                  </a:cubicBezTo>
                  <a:cubicBezTo>
                    <a:pt x="79" y="97"/>
                    <a:pt x="79" y="97"/>
                    <a:pt x="79" y="97"/>
                  </a:cubicBezTo>
                  <a:cubicBezTo>
                    <a:pt x="79" y="99"/>
                    <a:pt x="79" y="101"/>
                    <a:pt x="78" y="103"/>
                  </a:cubicBezTo>
                  <a:cubicBezTo>
                    <a:pt x="106" y="114"/>
                    <a:pt x="106" y="114"/>
                    <a:pt x="106" y="114"/>
                  </a:cubicBezTo>
                  <a:cubicBezTo>
                    <a:pt x="98" y="89"/>
                    <a:pt x="98" y="89"/>
                    <a:pt x="98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9306" tIns="64653" rIns="129306" bIns="64653" numCol="1" anchor="t" anchorCtr="0" compatLnSpc="1">
              <a:prstTxWarp prst="textNoShape">
                <a:avLst/>
              </a:prstTxWarp>
            </a:bodyPr>
            <a:lstStyle/>
            <a:p>
              <a:endParaRPr lang="en-AU" sz="1000"/>
            </a:p>
          </p:txBody>
        </p:sp>
      </p:grp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D57B417-144D-3CD1-6E64-9A40E48F2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296551" y="4315554"/>
            <a:ext cx="0" cy="2453382"/>
          </a:xfrm>
          <a:prstGeom prst="line">
            <a:avLst/>
          </a:prstGeom>
          <a:ln w="19050">
            <a:solidFill>
              <a:srgbClr val="46576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5AD1915-59AF-13DF-BFBF-819511011F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5535998" y="6303223"/>
            <a:ext cx="363767" cy="328668"/>
            <a:chOff x="4027488" y="1122363"/>
            <a:chExt cx="542926" cy="490538"/>
          </a:xfrm>
          <a:solidFill>
            <a:schemeClr val="accent6"/>
          </a:solidFill>
        </p:grpSpPr>
        <p:sp>
          <p:nvSpPr>
            <p:cNvPr id="69" name="Freeform 15">
              <a:extLst>
                <a:ext uri="{FF2B5EF4-FFF2-40B4-BE49-F238E27FC236}">
                  <a16:creationId xmlns:a16="http://schemas.microsoft.com/office/drawing/2014/main" id="{C513D811-2D24-532C-BD7E-407FF7DDBF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27488" y="1247776"/>
              <a:ext cx="396875" cy="365125"/>
            </a:xfrm>
            <a:custGeom>
              <a:avLst/>
              <a:gdLst>
                <a:gd name="T0" fmla="*/ 62 w 124"/>
                <a:gd name="T1" fmla="*/ 0 h 114"/>
                <a:gd name="T2" fmla="*/ 0 w 124"/>
                <a:gd name="T3" fmla="*/ 51 h 114"/>
                <a:gd name="T4" fmla="*/ 19 w 124"/>
                <a:gd name="T5" fmla="*/ 88 h 114"/>
                <a:gd name="T6" fmla="*/ 20 w 124"/>
                <a:gd name="T7" fmla="*/ 88 h 114"/>
                <a:gd name="T8" fmla="*/ 19 w 124"/>
                <a:gd name="T9" fmla="*/ 89 h 114"/>
                <a:gd name="T10" fmla="*/ 12 w 124"/>
                <a:gd name="T11" fmla="*/ 114 h 114"/>
                <a:gd name="T12" fmla="*/ 46 w 124"/>
                <a:gd name="T13" fmla="*/ 101 h 114"/>
                <a:gd name="T14" fmla="*/ 46 w 124"/>
                <a:gd name="T15" fmla="*/ 101 h 114"/>
                <a:gd name="T16" fmla="*/ 62 w 124"/>
                <a:gd name="T17" fmla="*/ 103 h 114"/>
                <a:gd name="T18" fmla="*/ 124 w 124"/>
                <a:gd name="T19" fmla="*/ 51 h 114"/>
                <a:gd name="T20" fmla="*/ 62 w 124"/>
                <a:gd name="T21" fmla="*/ 0 h 114"/>
                <a:gd name="T22" fmla="*/ 62 w 124"/>
                <a:gd name="T23" fmla="*/ 96 h 114"/>
                <a:gd name="T24" fmla="*/ 48 w 124"/>
                <a:gd name="T25" fmla="*/ 95 h 114"/>
                <a:gd name="T26" fmla="*/ 44 w 124"/>
                <a:gd name="T27" fmla="*/ 95 h 114"/>
                <a:gd name="T28" fmla="*/ 23 w 124"/>
                <a:gd name="T29" fmla="*/ 103 h 114"/>
                <a:gd name="T30" fmla="*/ 26 w 124"/>
                <a:gd name="T31" fmla="*/ 91 h 114"/>
                <a:gd name="T32" fmla="*/ 24 w 124"/>
                <a:gd name="T33" fmla="*/ 83 h 114"/>
                <a:gd name="T34" fmla="*/ 7 w 124"/>
                <a:gd name="T35" fmla="*/ 51 h 114"/>
                <a:gd name="T36" fmla="*/ 62 w 124"/>
                <a:gd name="T37" fmla="*/ 7 h 114"/>
                <a:gd name="T38" fmla="*/ 117 w 124"/>
                <a:gd name="T39" fmla="*/ 51 h 114"/>
                <a:gd name="T40" fmla="*/ 62 w 124"/>
                <a:gd name="T41" fmla="*/ 9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4" h="114">
                  <a:moveTo>
                    <a:pt x="62" y="0"/>
                  </a:moveTo>
                  <a:cubicBezTo>
                    <a:pt x="28" y="0"/>
                    <a:pt x="0" y="23"/>
                    <a:pt x="0" y="51"/>
                  </a:cubicBezTo>
                  <a:cubicBezTo>
                    <a:pt x="0" y="66"/>
                    <a:pt x="7" y="78"/>
                    <a:pt x="19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19" y="89"/>
                    <a:pt x="19" y="89"/>
                    <a:pt x="19" y="89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2" y="102"/>
                    <a:pt x="57" y="103"/>
                    <a:pt x="62" y="103"/>
                  </a:cubicBezTo>
                  <a:cubicBezTo>
                    <a:pt x="96" y="103"/>
                    <a:pt x="124" y="79"/>
                    <a:pt x="124" y="51"/>
                  </a:cubicBezTo>
                  <a:cubicBezTo>
                    <a:pt x="124" y="23"/>
                    <a:pt x="96" y="0"/>
                    <a:pt x="62" y="0"/>
                  </a:cubicBezTo>
                  <a:close/>
                  <a:moveTo>
                    <a:pt x="62" y="96"/>
                  </a:moveTo>
                  <a:cubicBezTo>
                    <a:pt x="57" y="96"/>
                    <a:pt x="53" y="96"/>
                    <a:pt x="48" y="95"/>
                  </a:cubicBezTo>
                  <a:cubicBezTo>
                    <a:pt x="46" y="95"/>
                    <a:pt x="45" y="95"/>
                    <a:pt x="44" y="95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26" y="88"/>
                    <a:pt x="25" y="85"/>
                    <a:pt x="24" y="83"/>
                  </a:cubicBezTo>
                  <a:cubicBezTo>
                    <a:pt x="13" y="75"/>
                    <a:pt x="7" y="63"/>
                    <a:pt x="7" y="51"/>
                  </a:cubicBezTo>
                  <a:cubicBezTo>
                    <a:pt x="7" y="27"/>
                    <a:pt x="32" y="7"/>
                    <a:pt x="62" y="7"/>
                  </a:cubicBezTo>
                  <a:cubicBezTo>
                    <a:pt x="93" y="7"/>
                    <a:pt x="117" y="27"/>
                    <a:pt x="117" y="51"/>
                  </a:cubicBezTo>
                  <a:cubicBezTo>
                    <a:pt x="117" y="76"/>
                    <a:pt x="93" y="96"/>
                    <a:pt x="6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9306" tIns="64653" rIns="129306" bIns="64653" numCol="1" anchor="t" anchorCtr="0" compatLnSpc="1">
              <a:prstTxWarp prst="textNoShape">
                <a:avLst/>
              </a:prstTxWarp>
            </a:bodyPr>
            <a:lstStyle/>
            <a:p>
              <a:endParaRPr lang="en-AU" sz="1000"/>
            </a:p>
          </p:txBody>
        </p: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707F4F5A-E981-6601-3C84-D7D263B88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7351" y="1122363"/>
              <a:ext cx="373063" cy="365125"/>
            </a:xfrm>
            <a:custGeom>
              <a:avLst/>
              <a:gdLst>
                <a:gd name="T0" fmla="*/ 98 w 117"/>
                <a:gd name="T1" fmla="*/ 89 h 114"/>
                <a:gd name="T2" fmla="*/ 117 w 117"/>
                <a:gd name="T3" fmla="*/ 52 h 114"/>
                <a:gd name="T4" fmla="*/ 56 w 117"/>
                <a:gd name="T5" fmla="*/ 0 h 114"/>
                <a:gd name="T6" fmla="*/ 0 w 117"/>
                <a:gd name="T7" fmla="*/ 30 h 114"/>
                <a:gd name="T8" fmla="*/ 8 w 117"/>
                <a:gd name="T9" fmla="*/ 30 h 114"/>
                <a:gd name="T10" fmla="*/ 56 w 117"/>
                <a:gd name="T11" fmla="*/ 7 h 114"/>
                <a:gd name="T12" fmla="*/ 111 w 117"/>
                <a:gd name="T13" fmla="*/ 52 h 114"/>
                <a:gd name="T14" fmla="*/ 94 w 117"/>
                <a:gd name="T15" fmla="*/ 83 h 114"/>
                <a:gd name="T16" fmla="*/ 92 w 117"/>
                <a:gd name="T17" fmla="*/ 91 h 114"/>
                <a:gd name="T18" fmla="*/ 96 w 117"/>
                <a:gd name="T19" fmla="*/ 103 h 114"/>
                <a:gd name="T20" fmla="*/ 79 w 117"/>
                <a:gd name="T21" fmla="*/ 97 h 114"/>
                <a:gd name="T22" fmla="*/ 78 w 117"/>
                <a:gd name="T23" fmla="*/ 103 h 114"/>
                <a:gd name="T24" fmla="*/ 106 w 117"/>
                <a:gd name="T25" fmla="*/ 114 h 114"/>
                <a:gd name="T26" fmla="*/ 98 w 117"/>
                <a:gd name="T27" fmla="*/ 8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7" h="114">
                  <a:moveTo>
                    <a:pt x="98" y="89"/>
                  </a:moveTo>
                  <a:cubicBezTo>
                    <a:pt x="111" y="79"/>
                    <a:pt x="117" y="65"/>
                    <a:pt x="117" y="52"/>
                  </a:cubicBezTo>
                  <a:cubicBezTo>
                    <a:pt x="117" y="23"/>
                    <a:pt x="90" y="0"/>
                    <a:pt x="56" y="0"/>
                  </a:cubicBezTo>
                  <a:cubicBezTo>
                    <a:pt x="32" y="0"/>
                    <a:pt x="10" y="12"/>
                    <a:pt x="0" y="30"/>
                  </a:cubicBezTo>
                  <a:cubicBezTo>
                    <a:pt x="3" y="30"/>
                    <a:pt x="5" y="30"/>
                    <a:pt x="8" y="30"/>
                  </a:cubicBezTo>
                  <a:cubicBezTo>
                    <a:pt x="18" y="16"/>
                    <a:pt x="36" y="7"/>
                    <a:pt x="56" y="7"/>
                  </a:cubicBezTo>
                  <a:cubicBezTo>
                    <a:pt x="86" y="7"/>
                    <a:pt x="111" y="27"/>
                    <a:pt x="111" y="52"/>
                  </a:cubicBezTo>
                  <a:cubicBezTo>
                    <a:pt x="111" y="64"/>
                    <a:pt x="105" y="74"/>
                    <a:pt x="94" y="83"/>
                  </a:cubicBezTo>
                  <a:cubicBezTo>
                    <a:pt x="92" y="85"/>
                    <a:pt x="91" y="88"/>
                    <a:pt x="92" y="91"/>
                  </a:cubicBezTo>
                  <a:cubicBezTo>
                    <a:pt x="96" y="103"/>
                    <a:pt x="96" y="103"/>
                    <a:pt x="96" y="103"/>
                  </a:cubicBezTo>
                  <a:cubicBezTo>
                    <a:pt x="79" y="97"/>
                    <a:pt x="79" y="97"/>
                    <a:pt x="79" y="97"/>
                  </a:cubicBezTo>
                  <a:cubicBezTo>
                    <a:pt x="79" y="99"/>
                    <a:pt x="79" y="101"/>
                    <a:pt x="78" y="103"/>
                  </a:cubicBezTo>
                  <a:cubicBezTo>
                    <a:pt x="106" y="114"/>
                    <a:pt x="106" y="114"/>
                    <a:pt x="106" y="114"/>
                  </a:cubicBezTo>
                  <a:cubicBezTo>
                    <a:pt x="98" y="89"/>
                    <a:pt x="98" y="89"/>
                    <a:pt x="98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9306" tIns="64653" rIns="129306" bIns="64653" numCol="1" anchor="t" anchorCtr="0" compatLnSpc="1">
              <a:prstTxWarp prst="textNoShape">
                <a:avLst/>
              </a:prstTxWarp>
            </a:bodyPr>
            <a:lstStyle/>
            <a:p>
              <a:endParaRPr lang="en-AU" sz="1000"/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29276344-22F8-3196-C2DA-33601FAEAA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9449618" y="6333796"/>
            <a:ext cx="363766" cy="328668"/>
            <a:chOff x="4027490" y="1122363"/>
            <a:chExt cx="542924" cy="490538"/>
          </a:xfrm>
          <a:solidFill>
            <a:schemeClr val="accent6"/>
          </a:solidFill>
        </p:grpSpPr>
        <p:sp>
          <p:nvSpPr>
            <p:cNvPr id="67" name="Freeform 15">
              <a:extLst>
                <a:ext uri="{FF2B5EF4-FFF2-40B4-BE49-F238E27FC236}">
                  <a16:creationId xmlns:a16="http://schemas.microsoft.com/office/drawing/2014/main" id="{62E3604D-42A2-D007-F102-C80D320378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27490" y="1247777"/>
              <a:ext cx="396875" cy="365124"/>
            </a:xfrm>
            <a:custGeom>
              <a:avLst/>
              <a:gdLst>
                <a:gd name="T0" fmla="*/ 62 w 124"/>
                <a:gd name="T1" fmla="*/ 0 h 114"/>
                <a:gd name="T2" fmla="*/ 0 w 124"/>
                <a:gd name="T3" fmla="*/ 51 h 114"/>
                <a:gd name="T4" fmla="*/ 19 w 124"/>
                <a:gd name="T5" fmla="*/ 88 h 114"/>
                <a:gd name="T6" fmla="*/ 20 w 124"/>
                <a:gd name="T7" fmla="*/ 88 h 114"/>
                <a:gd name="T8" fmla="*/ 19 w 124"/>
                <a:gd name="T9" fmla="*/ 89 h 114"/>
                <a:gd name="T10" fmla="*/ 12 w 124"/>
                <a:gd name="T11" fmla="*/ 114 h 114"/>
                <a:gd name="T12" fmla="*/ 46 w 124"/>
                <a:gd name="T13" fmla="*/ 101 h 114"/>
                <a:gd name="T14" fmla="*/ 46 w 124"/>
                <a:gd name="T15" fmla="*/ 101 h 114"/>
                <a:gd name="T16" fmla="*/ 62 w 124"/>
                <a:gd name="T17" fmla="*/ 103 h 114"/>
                <a:gd name="T18" fmla="*/ 124 w 124"/>
                <a:gd name="T19" fmla="*/ 51 h 114"/>
                <a:gd name="T20" fmla="*/ 62 w 124"/>
                <a:gd name="T21" fmla="*/ 0 h 114"/>
                <a:gd name="T22" fmla="*/ 62 w 124"/>
                <a:gd name="T23" fmla="*/ 96 h 114"/>
                <a:gd name="T24" fmla="*/ 48 w 124"/>
                <a:gd name="T25" fmla="*/ 95 h 114"/>
                <a:gd name="T26" fmla="*/ 44 w 124"/>
                <a:gd name="T27" fmla="*/ 95 h 114"/>
                <a:gd name="T28" fmla="*/ 23 w 124"/>
                <a:gd name="T29" fmla="*/ 103 h 114"/>
                <a:gd name="T30" fmla="*/ 26 w 124"/>
                <a:gd name="T31" fmla="*/ 91 h 114"/>
                <a:gd name="T32" fmla="*/ 24 w 124"/>
                <a:gd name="T33" fmla="*/ 83 h 114"/>
                <a:gd name="T34" fmla="*/ 7 w 124"/>
                <a:gd name="T35" fmla="*/ 51 h 114"/>
                <a:gd name="T36" fmla="*/ 62 w 124"/>
                <a:gd name="T37" fmla="*/ 7 h 114"/>
                <a:gd name="T38" fmla="*/ 117 w 124"/>
                <a:gd name="T39" fmla="*/ 51 h 114"/>
                <a:gd name="T40" fmla="*/ 62 w 124"/>
                <a:gd name="T41" fmla="*/ 9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4" h="114">
                  <a:moveTo>
                    <a:pt x="62" y="0"/>
                  </a:moveTo>
                  <a:cubicBezTo>
                    <a:pt x="28" y="0"/>
                    <a:pt x="0" y="23"/>
                    <a:pt x="0" y="51"/>
                  </a:cubicBezTo>
                  <a:cubicBezTo>
                    <a:pt x="0" y="66"/>
                    <a:pt x="7" y="78"/>
                    <a:pt x="19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19" y="89"/>
                    <a:pt x="19" y="89"/>
                    <a:pt x="19" y="89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2" y="102"/>
                    <a:pt x="57" y="103"/>
                    <a:pt x="62" y="103"/>
                  </a:cubicBezTo>
                  <a:cubicBezTo>
                    <a:pt x="96" y="103"/>
                    <a:pt x="124" y="79"/>
                    <a:pt x="124" y="51"/>
                  </a:cubicBezTo>
                  <a:cubicBezTo>
                    <a:pt x="124" y="23"/>
                    <a:pt x="96" y="0"/>
                    <a:pt x="62" y="0"/>
                  </a:cubicBezTo>
                  <a:close/>
                  <a:moveTo>
                    <a:pt x="62" y="96"/>
                  </a:moveTo>
                  <a:cubicBezTo>
                    <a:pt x="57" y="96"/>
                    <a:pt x="53" y="96"/>
                    <a:pt x="48" y="95"/>
                  </a:cubicBezTo>
                  <a:cubicBezTo>
                    <a:pt x="46" y="95"/>
                    <a:pt x="45" y="95"/>
                    <a:pt x="44" y="95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26" y="88"/>
                    <a:pt x="25" y="85"/>
                    <a:pt x="24" y="83"/>
                  </a:cubicBezTo>
                  <a:cubicBezTo>
                    <a:pt x="13" y="75"/>
                    <a:pt x="7" y="63"/>
                    <a:pt x="7" y="51"/>
                  </a:cubicBezTo>
                  <a:cubicBezTo>
                    <a:pt x="7" y="27"/>
                    <a:pt x="32" y="7"/>
                    <a:pt x="62" y="7"/>
                  </a:cubicBezTo>
                  <a:cubicBezTo>
                    <a:pt x="93" y="7"/>
                    <a:pt x="117" y="27"/>
                    <a:pt x="117" y="51"/>
                  </a:cubicBezTo>
                  <a:cubicBezTo>
                    <a:pt x="117" y="76"/>
                    <a:pt x="93" y="96"/>
                    <a:pt x="6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9306" tIns="64653" rIns="129306" bIns="64653" numCol="1" anchor="t" anchorCtr="0" compatLnSpc="1">
              <a:prstTxWarp prst="textNoShape">
                <a:avLst/>
              </a:prstTxWarp>
            </a:bodyPr>
            <a:lstStyle/>
            <a:p>
              <a:endParaRPr lang="en-AU" sz="1000"/>
            </a:p>
          </p:txBody>
        </p:sp>
        <p:sp>
          <p:nvSpPr>
            <p:cNvPr id="68" name="Freeform 16">
              <a:extLst>
                <a:ext uri="{FF2B5EF4-FFF2-40B4-BE49-F238E27FC236}">
                  <a16:creationId xmlns:a16="http://schemas.microsoft.com/office/drawing/2014/main" id="{E12ADFBC-13C8-5B77-B956-CFB50C9DCB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7351" y="1122363"/>
              <a:ext cx="373063" cy="365125"/>
            </a:xfrm>
            <a:custGeom>
              <a:avLst/>
              <a:gdLst>
                <a:gd name="T0" fmla="*/ 98 w 117"/>
                <a:gd name="T1" fmla="*/ 89 h 114"/>
                <a:gd name="T2" fmla="*/ 117 w 117"/>
                <a:gd name="T3" fmla="*/ 52 h 114"/>
                <a:gd name="T4" fmla="*/ 56 w 117"/>
                <a:gd name="T5" fmla="*/ 0 h 114"/>
                <a:gd name="T6" fmla="*/ 0 w 117"/>
                <a:gd name="T7" fmla="*/ 30 h 114"/>
                <a:gd name="T8" fmla="*/ 8 w 117"/>
                <a:gd name="T9" fmla="*/ 30 h 114"/>
                <a:gd name="T10" fmla="*/ 56 w 117"/>
                <a:gd name="T11" fmla="*/ 7 h 114"/>
                <a:gd name="T12" fmla="*/ 111 w 117"/>
                <a:gd name="T13" fmla="*/ 52 h 114"/>
                <a:gd name="T14" fmla="*/ 94 w 117"/>
                <a:gd name="T15" fmla="*/ 83 h 114"/>
                <a:gd name="T16" fmla="*/ 92 w 117"/>
                <a:gd name="T17" fmla="*/ 91 h 114"/>
                <a:gd name="T18" fmla="*/ 96 w 117"/>
                <a:gd name="T19" fmla="*/ 103 h 114"/>
                <a:gd name="T20" fmla="*/ 79 w 117"/>
                <a:gd name="T21" fmla="*/ 97 h 114"/>
                <a:gd name="T22" fmla="*/ 78 w 117"/>
                <a:gd name="T23" fmla="*/ 103 h 114"/>
                <a:gd name="T24" fmla="*/ 106 w 117"/>
                <a:gd name="T25" fmla="*/ 114 h 114"/>
                <a:gd name="T26" fmla="*/ 98 w 117"/>
                <a:gd name="T27" fmla="*/ 8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7" h="114">
                  <a:moveTo>
                    <a:pt x="98" y="89"/>
                  </a:moveTo>
                  <a:cubicBezTo>
                    <a:pt x="111" y="79"/>
                    <a:pt x="117" y="65"/>
                    <a:pt x="117" y="52"/>
                  </a:cubicBezTo>
                  <a:cubicBezTo>
                    <a:pt x="117" y="23"/>
                    <a:pt x="90" y="0"/>
                    <a:pt x="56" y="0"/>
                  </a:cubicBezTo>
                  <a:cubicBezTo>
                    <a:pt x="32" y="0"/>
                    <a:pt x="10" y="12"/>
                    <a:pt x="0" y="30"/>
                  </a:cubicBezTo>
                  <a:cubicBezTo>
                    <a:pt x="3" y="30"/>
                    <a:pt x="5" y="30"/>
                    <a:pt x="8" y="30"/>
                  </a:cubicBezTo>
                  <a:cubicBezTo>
                    <a:pt x="18" y="16"/>
                    <a:pt x="36" y="7"/>
                    <a:pt x="56" y="7"/>
                  </a:cubicBezTo>
                  <a:cubicBezTo>
                    <a:pt x="86" y="7"/>
                    <a:pt x="111" y="27"/>
                    <a:pt x="111" y="52"/>
                  </a:cubicBezTo>
                  <a:cubicBezTo>
                    <a:pt x="111" y="64"/>
                    <a:pt x="105" y="74"/>
                    <a:pt x="94" y="83"/>
                  </a:cubicBezTo>
                  <a:cubicBezTo>
                    <a:pt x="92" y="85"/>
                    <a:pt x="91" y="88"/>
                    <a:pt x="92" y="91"/>
                  </a:cubicBezTo>
                  <a:cubicBezTo>
                    <a:pt x="96" y="103"/>
                    <a:pt x="96" y="103"/>
                    <a:pt x="96" y="103"/>
                  </a:cubicBezTo>
                  <a:cubicBezTo>
                    <a:pt x="79" y="97"/>
                    <a:pt x="79" y="97"/>
                    <a:pt x="79" y="97"/>
                  </a:cubicBezTo>
                  <a:cubicBezTo>
                    <a:pt x="79" y="99"/>
                    <a:pt x="79" y="101"/>
                    <a:pt x="78" y="103"/>
                  </a:cubicBezTo>
                  <a:cubicBezTo>
                    <a:pt x="106" y="114"/>
                    <a:pt x="106" y="114"/>
                    <a:pt x="106" y="114"/>
                  </a:cubicBezTo>
                  <a:cubicBezTo>
                    <a:pt x="98" y="89"/>
                    <a:pt x="98" y="89"/>
                    <a:pt x="98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9306" tIns="64653" rIns="129306" bIns="64653" numCol="1" anchor="t" anchorCtr="0" compatLnSpc="1">
              <a:prstTxWarp prst="textNoShape">
                <a:avLst/>
              </a:prstTxWarp>
            </a:bodyPr>
            <a:lstStyle/>
            <a:p>
              <a:endParaRPr lang="en-AU" sz="100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F7F85CE8-1057-4366-2221-DB85E56BBB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7498409" y="6333796"/>
            <a:ext cx="363767" cy="328668"/>
            <a:chOff x="4027488" y="1122363"/>
            <a:chExt cx="542926" cy="490538"/>
          </a:xfrm>
          <a:solidFill>
            <a:schemeClr val="accent6"/>
          </a:solidFill>
        </p:grpSpPr>
        <p:sp>
          <p:nvSpPr>
            <p:cNvPr id="65" name="Freeform 15">
              <a:extLst>
                <a:ext uri="{FF2B5EF4-FFF2-40B4-BE49-F238E27FC236}">
                  <a16:creationId xmlns:a16="http://schemas.microsoft.com/office/drawing/2014/main" id="{00B48BFA-061B-D5B3-FF0C-23912AF7EF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27488" y="1247776"/>
              <a:ext cx="396875" cy="365125"/>
            </a:xfrm>
            <a:custGeom>
              <a:avLst/>
              <a:gdLst>
                <a:gd name="T0" fmla="*/ 62 w 124"/>
                <a:gd name="T1" fmla="*/ 0 h 114"/>
                <a:gd name="T2" fmla="*/ 0 w 124"/>
                <a:gd name="T3" fmla="*/ 51 h 114"/>
                <a:gd name="T4" fmla="*/ 19 w 124"/>
                <a:gd name="T5" fmla="*/ 88 h 114"/>
                <a:gd name="T6" fmla="*/ 20 w 124"/>
                <a:gd name="T7" fmla="*/ 88 h 114"/>
                <a:gd name="T8" fmla="*/ 19 w 124"/>
                <a:gd name="T9" fmla="*/ 89 h 114"/>
                <a:gd name="T10" fmla="*/ 12 w 124"/>
                <a:gd name="T11" fmla="*/ 114 h 114"/>
                <a:gd name="T12" fmla="*/ 46 w 124"/>
                <a:gd name="T13" fmla="*/ 101 h 114"/>
                <a:gd name="T14" fmla="*/ 46 w 124"/>
                <a:gd name="T15" fmla="*/ 101 h 114"/>
                <a:gd name="T16" fmla="*/ 62 w 124"/>
                <a:gd name="T17" fmla="*/ 103 h 114"/>
                <a:gd name="T18" fmla="*/ 124 w 124"/>
                <a:gd name="T19" fmla="*/ 51 h 114"/>
                <a:gd name="T20" fmla="*/ 62 w 124"/>
                <a:gd name="T21" fmla="*/ 0 h 114"/>
                <a:gd name="T22" fmla="*/ 62 w 124"/>
                <a:gd name="T23" fmla="*/ 96 h 114"/>
                <a:gd name="T24" fmla="*/ 48 w 124"/>
                <a:gd name="T25" fmla="*/ 95 h 114"/>
                <a:gd name="T26" fmla="*/ 44 w 124"/>
                <a:gd name="T27" fmla="*/ 95 h 114"/>
                <a:gd name="T28" fmla="*/ 23 w 124"/>
                <a:gd name="T29" fmla="*/ 103 h 114"/>
                <a:gd name="T30" fmla="*/ 26 w 124"/>
                <a:gd name="T31" fmla="*/ 91 h 114"/>
                <a:gd name="T32" fmla="*/ 24 w 124"/>
                <a:gd name="T33" fmla="*/ 83 h 114"/>
                <a:gd name="T34" fmla="*/ 7 w 124"/>
                <a:gd name="T35" fmla="*/ 51 h 114"/>
                <a:gd name="T36" fmla="*/ 62 w 124"/>
                <a:gd name="T37" fmla="*/ 7 h 114"/>
                <a:gd name="T38" fmla="*/ 117 w 124"/>
                <a:gd name="T39" fmla="*/ 51 h 114"/>
                <a:gd name="T40" fmla="*/ 62 w 124"/>
                <a:gd name="T41" fmla="*/ 9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4" h="114">
                  <a:moveTo>
                    <a:pt x="62" y="0"/>
                  </a:moveTo>
                  <a:cubicBezTo>
                    <a:pt x="28" y="0"/>
                    <a:pt x="0" y="23"/>
                    <a:pt x="0" y="51"/>
                  </a:cubicBezTo>
                  <a:cubicBezTo>
                    <a:pt x="0" y="66"/>
                    <a:pt x="7" y="78"/>
                    <a:pt x="19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19" y="89"/>
                    <a:pt x="19" y="89"/>
                    <a:pt x="19" y="89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2" y="102"/>
                    <a:pt x="57" y="103"/>
                    <a:pt x="62" y="103"/>
                  </a:cubicBezTo>
                  <a:cubicBezTo>
                    <a:pt x="96" y="103"/>
                    <a:pt x="124" y="79"/>
                    <a:pt x="124" y="51"/>
                  </a:cubicBezTo>
                  <a:cubicBezTo>
                    <a:pt x="124" y="23"/>
                    <a:pt x="96" y="0"/>
                    <a:pt x="62" y="0"/>
                  </a:cubicBezTo>
                  <a:close/>
                  <a:moveTo>
                    <a:pt x="62" y="96"/>
                  </a:moveTo>
                  <a:cubicBezTo>
                    <a:pt x="57" y="96"/>
                    <a:pt x="53" y="96"/>
                    <a:pt x="48" y="95"/>
                  </a:cubicBezTo>
                  <a:cubicBezTo>
                    <a:pt x="46" y="95"/>
                    <a:pt x="45" y="95"/>
                    <a:pt x="44" y="95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26" y="88"/>
                    <a:pt x="25" y="85"/>
                    <a:pt x="24" y="83"/>
                  </a:cubicBezTo>
                  <a:cubicBezTo>
                    <a:pt x="13" y="75"/>
                    <a:pt x="7" y="63"/>
                    <a:pt x="7" y="51"/>
                  </a:cubicBezTo>
                  <a:cubicBezTo>
                    <a:pt x="7" y="27"/>
                    <a:pt x="32" y="7"/>
                    <a:pt x="62" y="7"/>
                  </a:cubicBezTo>
                  <a:cubicBezTo>
                    <a:pt x="93" y="7"/>
                    <a:pt x="117" y="27"/>
                    <a:pt x="117" y="51"/>
                  </a:cubicBezTo>
                  <a:cubicBezTo>
                    <a:pt x="117" y="76"/>
                    <a:pt x="93" y="96"/>
                    <a:pt x="62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9306" tIns="64653" rIns="129306" bIns="64653" numCol="1" anchor="t" anchorCtr="0" compatLnSpc="1">
              <a:prstTxWarp prst="textNoShape">
                <a:avLst/>
              </a:prstTxWarp>
            </a:bodyPr>
            <a:lstStyle/>
            <a:p>
              <a:endParaRPr lang="en-AU" sz="1000"/>
            </a:p>
          </p:txBody>
        </p:sp>
        <p:sp>
          <p:nvSpPr>
            <p:cNvPr id="66" name="Freeform 16">
              <a:extLst>
                <a:ext uri="{FF2B5EF4-FFF2-40B4-BE49-F238E27FC236}">
                  <a16:creationId xmlns:a16="http://schemas.microsoft.com/office/drawing/2014/main" id="{D6C50828-18B2-4FB3-9515-FF7033E55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7351" y="1122363"/>
              <a:ext cx="373063" cy="365125"/>
            </a:xfrm>
            <a:custGeom>
              <a:avLst/>
              <a:gdLst>
                <a:gd name="T0" fmla="*/ 98 w 117"/>
                <a:gd name="T1" fmla="*/ 89 h 114"/>
                <a:gd name="T2" fmla="*/ 117 w 117"/>
                <a:gd name="T3" fmla="*/ 52 h 114"/>
                <a:gd name="T4" fmla="*/ 56 w 117"/>
                <a:gd name="T5" fmla="*/ 0 h 114"/>
                <a:gd name="T6" fmla="*/ 0 w 117"/>
                <a:gd name="T7" fmla="*/ 30 h 114"/>
                <a:gd name="T8" fmla="*/ 8 w 117"/>
                <a:gd name="T9" fmla="*/ 30 h 114"/>
                <a:gd name="T10" fmla="*/ 56 w 117"/>
                <a:gd name="T11" fmla="*/ 7 h 114"/>
                <a:gd name="T12" fmla="*/ 111 w 117"/>
                <a:gd name="T13" fmla="*/ 52 h 114"/>
                <a:gd name="T14" fmla="*/ 94 w 117"/>
                <a:gd name="T15" fmla="*/ 83 h 114"/>
                <a:gd name="T16" fmla="*/ 92 w 117"/>
                <a:gd name="T17" fmla="*/ 91 h 114"/>
                <a:gd name="T18" fmla="*/ 96 w 117"/>
                <a:gd name="T19" fmla="*/ 103 h 114"/>
                <a:gd name="T20" fmla="*/ 79 w 117"/>
                <a:gd name="T21" fmla="*/ 97 h 114"/>
                <a:gd name="T22" fmla="*/ 78 w 117"/>
                <a:gd name="T23" fmla="*/ 103 h 114"/>
                <a:gd name="T24" fmla="*/ 106 w 117"/>
                <a:gd name="T25" fmla="*/ 114 h 114"/>
                <a:gd name="T26" fmla="*/ 98 w 117"/>
                <a:gd name="T27" fmla="*/ 8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7" h="114">
                  <a:moveTo>
                    <a:pt x="98" y="89"/>
                  </a:moveTo>
                  <a:cubicBezTo>
                    <a:pt x="111" y="79"/>
                    <a:pt x="117" y="65"/>
                    <a:pt x="117" y="52"/>
                  </a:cubicBezTo>
                  <a:cubicBezTo>
                    <a:pt x="117" y="23"/>
                    <a:pt x="90" y="0"/>
                    <a:pt x="56" y="0"/>
                  </a:cubicBezTo>
                  <a:cubicBezTo>
                    <a:pt x="32" y="0"/>
                    <a:pt x="10" y="12"/>
                    <a:pt x="0" y="30"/>
                  </a:cubicBezTo>
                  <a:cubicBezTo>
                    <a:pt x="3" y="30"/>
                    <a:pt x="5" y="30"/>
                    <a:pt x="8" y="30"/>
                  </a:cubicBezTo>
                  <a:cubicBezTo>
                    <a:pt x="18" y="16"/>
                    <a:pt x="36" y="7"/>
                    <a:pt x="56" y="7"/>
                  </a:cubicBezTo>
                  <a:cubicBezTo>
                    <a:pt x="86" y="7"/>
                    <a:pt x="111" y="27"/>
                    <a:pt x="111" y="52"/>
                  </a:cubicBezTo>
                  <a:cubicBezTo>
                    <a:pt x="111" y="64"/>
                    <a:pt x="105" y="74"/>
                    <a:pt x="94" y="83"/>
                  </a:cubicBezTo>
                  <a:cubicBezTo>
                    <a:pt x="92" y="85"/>
                    <a:pt x="91" y="88"/>
                    <a:pt x="92" y="91"/>
                  </a:cubicBezTo>
                  <a:cubicBezTo>
                    <a:pt x="96" y="103"/>
                    <a:pt x="96" y="103"/>
                    <a:pt x="96" y="103"/>
                  </a:cubicBezTo>
                  <a:cubicBezTo>
                    <a:pt x="79" y="97"/>
                    <a:pt x="79" y="97"/>
                    <a:pt x="79" y="97"/>
                  </a:cubicBezTo>
                  <a:cubicBezTo>
                    <a:pt x="79" y="99"/>
                    <a:pt x="79" y="101"/>
                    <a:pt x="78" y="103"/>
                  </a:cubicBezTo>
                  <a:cubicBezTo>
                    <a:pt x="106" y="114"/>
                    <a:pt x="106" y="114"/>
                    <a:pt x="106" y="114"/>
                  </a:cubicBezTo>
                  <a:cubicBezTo>
                    <a:pt x="98" y="89"/>
                    <a:pt x="98" y="89"/>
                    <a:pt x="98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9306" tIns="64653" rIns="129306" bIns="64653" numCol="1" anchor="t" anchorCtr="0" compatLnSpc="1">
              <a:prstTxWarp prst="textNoShape">
                <a:avLst/>
              </a:prstTxWarp>
            </a:bodyPr>
            <a:lstStyle/>
            <a:p>
              <a:endParaRPr lang="en-AU" sz="1000"/>
            </a:p>
          </p:txBody>
        </p:sp>
      </p:grp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330BC4FD-FFC9-11FE-2755-DAC1A96355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042961" y="4315554"/>
            <a:ext cx="0" cy="1375370"/>
          </a:xfrm>
          <a:prstGeom prst="line">
            <a:avLst/>
          </a:prstGeom>
          <a:ln w="19050">
            <a:solidFill>
              <a:srgbClr val="46576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596C9F1F-F4B5-282B-5BBF-5388F42F1F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3834812" y="3861433"/>
            <a:ext cx="351388" cy="317482"/>
            <a:chOff x="766763" y="1122363"/>
            <a:chExt cx="542925" cy="490538"/>
          </a:xfrm>
          <a:solidFill>
            <a:schemeClr val="accent5"/>
          </a:solidFill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F6489ABB-391F-BF7D-F503-DCA39C867D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888" y="1282701"/>
              <a:ext cx="319088" cy="15875"/>
            </a:xfrm>
            <a:custGeom>
              <a:avLst/>
              <a:gdLst>
                <a:gd name="T0" fmla="*/ 5 w 100"/>
                <a:gd name="T1" fmla="*/ 5 h 5"/>
                <a:gd name="T2" fmla="*/ 95 w 100"/>
                <a:gd name="T3" fmla="*/ 5 h 5"/>
                <a:gd name="T4" fmla="*/ 100 w 100"/>
                <a:gd name="T5" fmla="*/ 3 h 5"/>
                <a:gd name="T6" fmla="*/ 95 w 100"/>
                <a:gd name="T7" fmla="*/ 0 h 5"/>
                <a:gd name="T8" fmla="*/ 5 w 100"/>
                <a:gd name="T9" fmla="*/ 0 h 5"/>
                <a:gd name="T10" fmla="*/ 0 w 100"/>
                <a:gd name="T11" fmla="*/ 3 h 5"/>
                <a:gd name="T12" fmla="*/ 5 w 100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5">
                  <a:moveTo>
                    <a:pt x="5" y="5"/>
                  </a:moveTo>
                  <a:cubicBezTo>
                    <a:pt x="95" y="5"/>
                    <a:pt x="95" y="5"/>
                    <a:pt x="95" y="5"/>
                  </a:cubicBezTo>
                  <a:cubicBezTo>
                    <a:pt x="98" y="5"/>
                    <a:pt x="100" y="4"/>
                    <a:pt x="100" y="3"/>
                  </a:cubicBezTo>
                  <a:cubicBezTo>
                    <a:pt x="100" y="1"/>
                    <a:pt x="98" y="0"/>
                    <a:pt x="9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1"/>
                    <a:pt x="0" y="3"/>
                  </a:cubicBezTo>
                  <a:cubicBezTo>
                    <a:pt x="0" y="4"/>
                    <a:pt x="3" y="5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9306" tIns="64653" rIns="129306" bIns="64653" numCol="1" anchor="t" anchorCtr="0" compatLnSpc="1">
              <a:prstTxWarp prst="textNoShape">
                <a:avLst/>
              </a:prstTxWarp>
            </a:bodyPr>
            <a:lstStyle/>
            <a:p>
              <a:endParaRPr lang="en-AU" sz="1000"/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42A1CA83-0256-F6DE-0639-74A07162D2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888" y="1349376"/>
              <a:ext cx="319088" cy="17463"/>
            </a:xfrm>
            <a:custGeom>
              <a:avLst/>
              <a:gdLst>
                <a:gd name="T0" fmla="*/ 95 w 100"/>
                <a:gd name="T1" fmla="*/ 0 h 5"/>
                <a:gd name="T2" fmla="*/ 5 w 100"/>
                <a:gd name="T3" fmla="*/ 0 h 5"/>
                <a:gd name="T4" fmla="*/ 0 w 100"/>
                <a:gd name="T5" fmla="*/ 2 h 5"/>
                <a:gd name="T6" fmla="*/ 5 w 100"/>
                <a:gd name="T7" fmla="*/ 5 h 5"/>
                <a:gd name="T8" fmla="*/ 95 w 100"/>
                <a:gd name="T9" fmla="*/ 5 h 5"/>
                <a:gd name="T10" fmla="*/ 100 w 100"/>
                <a:gd name="T11" fmla="*/ 2 h 5"/>
                <a:gd name="T12" fmla="*/ 95 w 10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5">
                  <a:moveTo>
                    <a:pt x="9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0"/>
                    <a:pt x="0" y="2"/>
                  </a:cubicBezTo>
                  <a:cubicBezTo>
                    <a:pt x="0" y="4"/>
                    <a:pt x="3" y="5"/>
                    <a:pt x="5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8" y="5"/>
                    <a:pt x="100" y="4"/>
                    <a:pt x="100" y="2"/>
                  </a:cubicBezTo>
                  <a:cubicBezTo>
                    <a:pt x="100" y="0"/>
                    <a:pt x="98" y="0"/>
                    <a:pt x="9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9306" tIns="64653" rIns="129306" bIns="64653" numCol="1" anchor="t" anchorCtr="0" compatLnSpc="1">
              <a:prstTxWarp prst="textNoShape">
                <a:avLst/>
              </a:prstTxWarp>
            </a:bodyPr>
            <a:lstStyle/>
            <a:p>
              <a:endParaRPr lang="en-AU" sz="1000"/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B8DF7C44-B394-A67B-7216-90B459D5BA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888" y="1414463"/>
              <a:ext cx="319088" cy="15875"/>
            </a:xfrm>
            <a:custGeom>
              <a:avLst/>
              <a:gdLst>
                <a:gd name="T0" fmla="*/ 95 w 100"/>
                <a:gd name="T1" fmla="*/ 0 h 5"/>
                <a:gd name="T2" fmla="*/ 5 w 100"/>
                <a:gd name="T3" fmla="*/ 0 h 5"/>
                <a:gd name="T4" fmla="*/ 0 w 100"/>
                <a:gd name="T5" fmla="*/ 3 h 5"/>
                <a:gd name="T6" fmla="*/ 5 w 100"/>
                <a:gd name="T7" fmla="*/ 5 h 5"/>
                <a:gd name="T8" fmla="*/ 95 w 100"/>
                <a:gd name="T9" fmla="*/ 5 h 5"/>
                <a:gd name="T10" fmla="*/ 100 w 100"/>
                <a:gd name="T11" fmla="*/ 3 h 5"/>
                <a:gd name="T12" fmla="*/ 95 w 10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5">
                  <a:moveTo>
                    <a:pt x="9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1"/>
                    <a:pt x="0" y="3"/>
                  </a:cubicBezTo>
                  <a:cubicBezTo>
                    <a:pt x="0" y="5"/>
                    <a:pt x="3" y="5"/>
                    <a:pt x="5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8" y="5"/>
                    <a:pt x="100" y="5"/>
                    <a:pt x="100" y="3"/>
                  </a:cubicBezTo>
                  <a:cubicBezTo>
                    <a:pt x="100" y="1"/>
                    <a:pt x="98" y="0"/>
                    <a:pt x="9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9306" tIns="64653" rIns="129306" bIns="64653" numCol="1" anchor="t" anchorCtr="0" compatLnSpc="1">
              <a:prstTxWarp prst="textNoShape">
                <a:avLst/>
              </a:prstTxWarp>
            </a:bodyPr>
            <a:lstStyle/>
            <a:p>
              <a:endParaRPr lang="en-AU" sz="1000"/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1A3947BD-D227-D75E-BE9C-0FC6D9FDF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763" y="1122363"/>
              <a:ext cx="542925" cy="490538"/>
            </a:xfrm>
            <a:custGeom>
              <a:avLst/>
              <a:gdLst>
                <a:gd name="T0" fmla="*/ 85 w 170"/>
                <a:gd name="T1" fmla="*/ 0 h 153"/>
                <a:gd name="T2" fmla="*/ 0 w 170"/>
                <a:gd name="T3" fmla="*/ 69 h 153"/>
                <a:gd name="T4" fmla="*/ 24 w 170"/>
                <a:gd name="T5" fmla="*/ 117 h 153"/>
                <a:gd name="T6" fmla="*/ 24 w 170"/>
                <a:gd name="T7" fmla="*/ 117 h 153"/>
                <a:gd name="T8" fmla="*/ 15 w 170"/>
                <a:gd name="T9" fmla="*/ 153 h 153"/>
                <a:gd name="T10" fmla="*/ 61 w 170"/>
                <a:gd name="T11" fmla="*/ 135 h 153"/>
                <a:gd name="T12" fmla="*/ 62 w 170"/>
                <a:gd name="T13" fmla="*/ 135 h 153"/>
                <a:gd name="T14" fmla="*/ 85 w 170"/>
                <a:gd name="T15" fmla="*/ 138 h 153"/>
                <a:gd name="T16" fmla="*/ 170 w 170"/>
                <a:gd name="T17" fmla="*/ 69 h 153"/>
                <a:gd name="T18" fmla="*/ 85 w 170"/>
                <a:gd name="T19" fmla="*/ 0 h 153"/>
                <a:gd name="T20" fmla="*/ 85 w 170"/>
                <a:gd name="T21" fmla="*/ 131 h 153"/>
                <a:gd name="T22" fmla="*/ 62 w 170"/>
                <a:gd name="T23" fmla="*/ 128 h 153"/>
                <a:gd name="T24" fmla="*/ 58 w 170"/>
                <a:gd name="T25" fmla="*/ 129 h 153"/>
                <a:gd name="T26" fmla="*/ 25 w 170"/>
                <a:gd name="T27" fmla="*/ 142 h 153"/>
                <a:gd name="T28" fmla="*/ 31 w 170"/>
                <a:gd name="T29" fmla="*/ 119 h 153"/>
                <a:gd name="T30" fmla="*/ 28 w 170"/>
                <a:gd name="T31" fmla="*/ 112 h 153"/>
                <a:gd name="T32" fmla="*/ 6 w 170"/>
                <a:gd name="T33" fmla="*/ 69 h 153"/>
                <a:gd name="T34" fmla="*/ 85 w 170"/>
                <a:gd name="T35" fmla="*/ 7 h 153"/>
                <a:gd name="T36" fmla="*/ 163 w 170"/>
                <a:gd name="T37" fmla="*/ 69 h 153"/>
                <a:gd name="T38" fmla="*/ 85 w 170"/>
                <a:gd name="T39" fmla="*/ 13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0" h="153">
                  <a:moveTo>
                    <a:pt x="85" y="0"/>
                  </a:moveTo>
                  <a:cubicBezTo>
                    <a:pt x="38" y="0"/>
                    <a:pt x="0" y="31"/>
                    <a:pt x="0" y="69"/>
                  </a:cubicBezTo>
                  <a:cubicBezTo>
                    <a:pt x="0" y="87"/>
                    <a:pt x="8" y="104"/>
                    <a:pt x="24" y="117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15" y="153"/>
                    <a:pt x="15" y="153"/>
                    <a:pt x="15" y="153"/>
                  </a:cubicBezTo>
                  <a:cubicBezTo>
                    <a:pt x="61" y="135"/>
                    <a:pt x="61" y="135"/>
                    <a:pt x="61" y="135"/>
                  </a:cubicBezTo>
                  <a:cubicBezTo>
                    <a:pt x="62" y="135"/>
                    <a:pt x="62" y="135"/>
                    <a:pt x="62" y="135"/>
                  </a:cubicBezTo>
                  <a:cubicBezTo>
                    <a:pt x="69" y="137"/>
                    <a:pt x="77" y="138"/>
                    <a:pt x="85" y="138"/>
                  </a:cubicBezTo>
                  <a:cubicBezTo>
                    <a:pt x="132" y="138"/>
                    <a:pt x="170" y="107"/>
                    <a:pt x="170" y="69"/>
                  </a:cubicBezTo>
                  <a:cubicBezTo>
                    <a:pt x="170" y="31"/>
                    <a:pt x="132" y="0"/>
                    <a:pt x="85" y="0"/>
                  </a:cubicBezTo>
                  <a:close/>
                  <a:moveTo>
                    <a:pt x="85" y="131"/>
                  </a:moveTo>
                  <a:cubicBezTo>
                    <a:pt x="78" y="131"/>
                    <a:pt x="70" y="130"/>
                    <a:pt x="62" y="128"/>
                  </a:cubicBezTo>
                  <a:cubicBezTo>
                    <a:pt x="62" y="128"/>
                    <a:pt x="60" y="128"/>
                    <a:pt x="58" y="129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1" y="119"/>
                    <a:pt x="31" y="119"/>
                    <a:pt x="31" y="119"/>
                  </a:cubicBezTo>
                  <a:cubicBezTo>
                    <a:pt x="32" y="116"/>
                    <a:pt x="31" y="114"/>
                    <a:pt x="28" y="112"/>
                  </a:cubicBezTo>
                  <a:cubicBezTo>
                    <a:pt x="14" y="100"/>
                    <a:pt x="6" y="85"/>
                    <a:pt x="6" y="69"/>
                  </a:cubicBezTo>
                  <a:cubicBezTo>
                    <a:pt x="6" y="35"/>
                    <a:pt x="42" y="7"/>
                    <a:pt x="85" y="7"/>
                  </a:cubicBezTo>
                  <a:cubicBezTo>
                    <a:pt x="129" y="7"/>
                    <a:pt x="163" y="35"/>
                    <a:pt x="163" y="69"/>
                  </a:cubicBezTo>
                  <a:cubicBezTo>
                    <a:pt x="163" y="104"/>
                    <a:pt x="129" y="131"/>
                    <a:pt x="85" y="1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9306" tIns="64653" rIns="129306" bIns="64653" numCol="1" anchor="t" anchorCtr="0" compatLnSpc="1">
              <a:prstTxWarp prst="textNoShape">
                <a:avLst/>
              </a:prstTxWarp>
            </a:bodyPr>
            <a:lstStyle/>
            <a:p>
              <a:endParaRPr lang="en-AU" sz="100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28FFA56-5C1F-56D4-AD9A-4746DBC9D4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7498409" y="3837247"/>
            <a:ext cx="379188" cy="371343"/>
            <a:chOff x="3360738" y="3190875"/>
            <a:chExt cx="690562" cy="676275"/>
          </a:xfrm>
          <a:solidFill>
            <a:schemeClr val="accent5"/>
          </a:solidFill>
        </p:grpSpPr>
        <p:sp>
          <p:nvSpPr>
            <p:cNvPr id="57" name="Freeform 26">
              <a:extLst>
                <a:ext uri="{FF2B5EF4-FFF2-40B4-BE49-F238E27FC236}">
                  <a16:creationId xmlns:a16="http://schemas.microsoft.com/office/drawing/2014/main" id="{5850123B-BDF9-616A-8760-C1EFA4EE4C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1550" y="3190875"/>
              <a:ext cx="390525" cy="280988"/>
            </a:xfrm>
            <a:custGeom>
              <a:avLst/>
              <a:gdLst>
                <a:gd name="T0" fmla="*/ 85 w 96"/>
                <a:gd name="T1" fmla="*/ 69 h 69"/>
                <a:gd name="T2" fmla="*/ 96 w 96"/>
                <a:gd name="T3" fmla="*/ 12 h 69"/>
                <a:gd name="T4" fmla="*/ 11 w 96"/>
                <a:gd name="T5" fmla="*/ 0 h 69"/>
                <a:gd name="T6" fmla="*/ 0 w 96"/>
                <a:gd name="T7" fmla="*/ 58 h 69"/>
                <a:gd name="T8" fmla="*/ 91 w 96"/>
                <a:gd name="T9" fmla="*/ 58 h 69"/>
                <a:gd name="T10" fmla="*/ 73 w 96"/>
                <a:gd name="T11" fmla="*/ 64 h 69"/>
                <a:gd name="T12" fmla="*/ 70 w 96"/>
                <a:gd name="T13" fmla="*/ 27 h 69"/>
                <a:gd name="T14" fmla="*/ 71 w 96"/>
                <a:gd name="T15" fmla="*/ 27 h 69"/>
                <a:gd name="T16" fmla="*/ 54 w 96"/>
                <a:gd name="T17" fmla="*/ 5 h 69"/>
                <a:gd name="T18" fmla="*/ 91 w 96"/>
                <a:gd name="T19" fmla="*/ 12 h 69"/>
                <a:gd name="T20" fmla="*/ 54 w 96"/>
                <a:gd name="T21" fmla="*/ 43 h 69"/>
                <a:gd name="T22" fmla="*/ 52 w 96"/>
                <a:gd name="T23" fmla="*/ 44 h 69"/>
                <a:gd name="T24" fmla="*/ 50 w 96"/>
                <a:gd name="T25" fmla="*/ 44 h 69"/>
                <a:gd name="T26" fmla="*/ 47 w 96"/>
                <a:gd name="T27" fmla="*/ 44 h 69"/>
                <a:gd name="T28" fmla="*/ 45 w 96"/>
                <a:gd name="T29" fmla="*/ 44 h 69"/>
                <a:gd name="T30" fmla="*/ 42 w 96"/>
                <a:gd name="T31" fmla="*/ 43 h 69"/>
                <a:gd name="T32" fmla="*/ 41 w 96"/>
                <a:gd name="T33" fmla="*/ 43 h 69"/>
                <a:gd name="T34" fmla="*/ 54 w 96"/>
                <a:gd name="T35" fmla="*/ 22 h 69"/>
                <a:gd name="T36" fmla="*/ 55 w 96"/>
                <a:gd name="T37" fmla="*/ 43 h 69"/>
                <a:gd name="T38" fmla="*/ 53 w 96"/>
                <a:gd name="T39" fmla="*/ 16 h 69"/>
                <a:gd name="T40" fmla="*/ 48 w 96"/>
                <a:gd name="T41" fmla="*/ 9 h 69"/>
                <a:gd name="T42" fmla="*/ 57 w 96"/>
                <a:gd name="T43" fmla="*/ 17 h 69"/>
                <a:gd name="T44" fmla="*/ 53 w 96"/>
                <a:gd name="T45" fmla="*/ 16 h 69"/>
                <a:gd name="T46" fmla="*/ 38 w 96"/>
                <a:gd name="T47" fmla="*/ 47 h 69"/>
                <a:gd name="T48" fmla="*/ 38 w 96"/>
                <a:gd name="T49" fmla="*/ 47 h 69"/>
                <a:gd name="T50" fmla="*/ 42 w 96"/>
                <a:gd name="T51" fmla="*/ 49 h 69"/>
                <a:gd name="T52" fmla="*/ 53 w 96"/>
                <a:gd name="T53" fmla="*/ 49 h 69"/>
                <a:gd name="T54" fmla="*/ 54 w 96"/>
                <a:gd name="T55" fmla="*/ 48 h 69"/>
                <a:gd name="T56" fmla="*/ 58 w 96"/>
                <a:gd name="T57" fmla="*/ 47 h 69"/>
                <a:gd name="T58" fmla="*/ 68 w 96"/>
                <a:gd name="T59" fmla="*/ 64 h 69"/>
                <a:gd name="T60" fmla="*/ 38 w 96"/>
                <a:gd name="T61" fmla="*/ 47 h 69"/>
                <a:gd name="T62" fmla="*/ 25 w 96"/>
                <a:gd name="T63" fmla="*/ 27 h 69"/>
                <a:gd name="T64" fmla="*/ 25 w 96"/>
                <a:gd name="T65" fmla="*/ 27 h 69"/>
                <a:gd name="T66" fmla="*/ 23 w 96"/>
                <a:gd name="T67" fmla="*/ 64 h 69"/>
                <a:gd name="T68" fmla="*/ 5 w 96"/>
                <a:gd name="T69" fmla="*/ 58 h 69"/>
                <a:gd name="T70" fmla="*/ 11 w 96"/>
                <a:gd name="T71" fmla="*/ 5 h 69"/>
                <a:gd name="T72" fmla="*/ 25 w 96"/>
                <a:gd name="T73" fmla="*/ 26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6" h="69">
                  <a:moveTo>
                    <a:pt x="11" y="69"/>
                  </a:moveTo>
                  <a:cubicBezTo>
                    <a:pt x="85" y="69"/>
                    <a:pt x="85" y="69"/>
                    <a:pt x="85" y="69"/>
                  </a:cubicBezTo>
                  <a:cubicBezTo>
                    <a:pt x="91" y="69"/>
                    <a:pt x="96" y="64"/>
                    <a:pt x="96" y="58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5"/>
                    <a:pt x="91" y="0"/>
                    <a:pt x="8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64"/>
                    <a:pt x="5" y="69"/>
                    <a:pt x="11" y="69"/>
                  </a:cubicBezTo>
                  <a:close/>
                  <a:moveTo>
                    <a:pt x="91" y="58"/>
                  </a:moveTo>
                  <a:cubicBezTo>
                    <a:pt x="91" y="61"/>
                    <a:pt x="88" y="64"/>
                    <a:pt x="85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2" y="60"/>
                    <a:pt x="70" y="52"/>
                    <a:pt x="62" y="44"/>
                  </a:cubicBezTo>
                  <a:cubicBezTo>
                    <a:pt x="67" y="40"/>
                    <a:pt x="70" y="34"/>
                    <a:pt x="70" y="27"/>
                  </a:cubicBezTo>
                  <a:cubicBezTo>
                    <a:pt x="71" y="27"/>
                    <a:pt x="71" y="27"/>
                    <a:pt x="71" y="27"/>
                  </a:cubicBezTo>
                  <a:cubicBezTo>
                    <a:pt x="71" y="27"/>
                    <a:pt x="71" y="27"/>
                    <a:pt x="71" y="27"/>
                  </a:cubicBezTo>
                  <a:cubicBezTo>
                    <a:pt x="71" y="27"/>
                    <a:pt x="71" y="27"/>
                    <a:pt x="71" y="27"/>
                  </a:cubicBezTo>
                  <a:cubicBezTo>
                    <a:pt x="71" y="16"/>
                    <a:pt x="63" y="8"/>
                    <a:pt x="54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8" y="5"/>
                    <a:pt x="91" y="8"/>
                    <a:pt x="91" y="12"/>
                  </a:cubicBezTo>
                  <a:lnTo>
                    <a:pt x="91" y="58"/>
                  </a:lnTo>
                  <a:close/>
                  <a:moveTo>
                    <a:pt x="54" y="43"/>
                  </a:moveTo>
                  <a:cubicBezTo>
                    <a:pt x="54" y="43"/>
                    <a:pt x="54" y="43"/>
                    <a:pt x="54" y="43"/>
                  </a:cubicBezTo>
                  <a:cubicBezTo>
                    <a:pt x="53" y="43"/>
                    <a:pt x="53" y="43"/>
                    <a:pt x="52" y="44"/>
                  </a:cubicBezTo>
                  <a:cubicBezTo>
                    <a:pt x="52" y="44"/>
                    <a:pt x="51" y="44"/>
                    <a:pt x="51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8" y="44"/>
                    <a:pt x="47" y="44"/>
                    <a:pt x="47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5" y="44"/>
                  </a:cubicBezTo>
                  <a:cubicBezTo>
                    <a:pt x="45" y="44"/>
                    <a:pt x="44" y="44"/>
                    <a:pt x="44" y="44"/>
                  </a:cubicBezTo>
                  <a:cubicBezTo>
                    <a:pt x="43" y="43"/>
                    <a:pt x="43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1" y="43"/>
                    <a:pt x="41" y="43"/>
                  </a:cubicBezTo>
                  <a:cubicBezTo>
                    <a:pt x="36" y="40"/>
                    <a:pt x="32" y="35"/>
                    <a:pt x="31" y="30"/>
                  </a:cubicBezTo>
                  <a:cubicBezTo>
                    <a:pt x="35" y="30"/>
                    <a:pt x="45" y="29"/>
                    <a:pt x="54" y="22"/>
                  </a:cubicBezTo>
                  <a:cubicBezTo>
                    <a:pt x="56" y="24"/>
                    <a:pt x="59" y="27"/>
                    <a:pt x="65" y="29"/>
                  </a:cubicBezTo>
                  <a:cubicBezTo>
                    <a:pt x="64" y="35"/>
                    <a:pt x="61" y="40"/>
                    <a:pt x="55" y="43"/>
                  </a:cubicBezTo>
                  <a:cubicBezTo>
                    <a:pt x="55" y="43"/>
                    <a:pt x="54" y="43"/>
                    <a:pt x="54" y="43"/>
                  </a:cubicBezTo>
                  <a:close/>
                  <a:moveTo>
                    <a:pt x="53" y="16"/>
                  </a:moveTo>
                  <a:cubicBezTo>
                    <a:pt x="45" y="24"/>
                    <a:pt x="35" y="25"/>
                    <a:pt x="31" y="24"/>
                  </a:cubicBezTo>
                  <a:cubicBezTo>
                    <a:pt x="32" y="16"/>
                    <a:pt x="39" y="9"/>
                    <a:pt x="48" y="9"/>
                  </a:cubicBezTo>
                  <a:cubicBezTo>
                    <a:pt x="56" y="9"/>
                    <a:pt x="63" y="15"/>
                    <a:pt x="65" y="23"/>
                  </a:cubicBezTo>
                  <a:cubicBezTo>
                    <a:pt x="59" y="21"/>
                    <a:pt x="57" y="17"/>
                    <a:pt x="57" y="17"/>
                  </a:cubicBezTo>
                  <a:cubicBezTo>
                    <a:pt x="57" y="17"/>
                    <a:pt x="56" y="16"/>
                    <a:pt x="55" y="16"/>
                  </a:cubicBezTo>
                  <a:cubicBezTo>
                    <a:pt x="55" y="16"/>
                    <a:pt x="54" y="16"/>
                    <a:pt x="53" y="16"/>
                  </a:cubicBezTo>
                  <a:close/>
                  <a:moveTo>
                    <a:pt x="38" y="47"/>
                  </a:move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9" y="48"/>
                    <a:pt x="41" y="48"/>
                    <a:pt x="42" y="48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3" y="49"/>
                    <a:pt x="43" y="49"/>
                  </a:cubicBezTo>
                  <a:cubicBezTo>
                    <a:pt x="47" y="50"/>
                    <a:pt x="49" y="50"/>
                    <a:pt x="53" y="49"/>
                  </a:cubicBezTo>
                  <a:cubicBezTo>
                    <a:pt x="53" y="49"/>
                    <a:pt x="54" y="49"/>
                    <a:pt x="54" y="49"/>
                  </a:cubicBezTo>
                  <a:cubicBezTo>
                    <a:pt x="54" y="49"/>
                    <a:pt x="54" y="49"/>
                    <a:pt x="54" y="48"/>
                  </a:cubicBezTo>
                  <a:cubicBezTo>
                    <a:pt x="55" y="48"/>
                    <a:pt x="57" y="48"/>
                    <a:pt x="58" y="47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58" y="47"/>
                    <a:pt x="58" y="47"/>
                    <a:pt x="58" y="47"/>
                  </a:cubicBezTo>
                  <a:cubicBezTo>
                    <a:pt x="65" y="53"/>
                    <a:pt x="67" y="60"/>
                    <a:pt x="68" y="64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9" y="60"/>
                    <a:pt x="31" y="53"/>
                    <a:pt x="38" y="47"/>
                  </a:cubicBezTo>
                  <a:close/>
                  <a:moveTo>
                    <a:pt x="25" y="26"/>
                  </a:move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33"/>
                    <a:pt x="28" y="40"/>
                    <a:pt x="34" y="44"/>
                  </a:cubicBezTo>
                  <a:cubicBezTo>
                    <a:pt x="26" y="52"/>
                    <a:pt x="24" y="60"/>
                    <a:pt x="23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8" y="64"/>
                    <a:pt x="5" y="61"/>
                    <a:pt x="5" y="58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8"/>
                    <a:pt x="8" y="5"/>
                    <a:pt x="11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33" y="8"/>
                    <a:pt x="26" y="16"/>
                    <a:pt x="25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9306" tIns="64653" rIns="129306" bIns="64653" numCol="1" anchor="t" anchorCtr="0" compatLnSpc="1">
              <a:prstTxWarp prst="textNoShape">
                <a:avLst/>
              </a:prstTxWarp>
            </a:bodyPr>
            <a:lstStyle/>
            <a:p>
              <a:endParaRPr lang="en-AU" sz="1000"/>
            </a:p>
          </p:txBody>
        </p:sp>
        <p:sp>
          <p:nvSpPr>
            <p:cNvPr id="58" name="Freeform 27">
              <a:extLst>
                <a:ext uri="{FF2B5EF4-FFF2-40B4-BE49-F238E27FC236}">
                  <a16:creationId xmlns:a16="http://schemas.microsoft.com/office/drawing/2014/main" id="{7605943E-5FE7-3C3A-CB97-C73D0591CE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0738" y="3492500"/>
              <a:ext cx="690562" cy="374650"/>
            </a:xfrm>
            <a:custGeom>
              <a:avLst/>
              <a:gdLst>
                <a:gd name="T0" fmla="*/ 167 w 170"/>
                <a:gd name="T1" fmla="*/ 46 h 92"/>
                <a:gd name="T2" fmla="*/ 131 w 170"/>
                <a:gd name="T3" fmla="*/ 26 h 92"/>
                <a:gd name="T4" fmla="*/ 130 w 170"/>
                <a:gd name="T5" fmla="*/ 25 h 92"/>
                <a:gd name="T6" fmla="*/ 120 w 170"/>
                <a:gd name="T7" fmla="*/ 0 h 92"/>
                <a:gd name="T8" fmla="*/ 110 w 170"/>
                <a:gd name="T9" fmla="*/ 25 h 92"/>
                <a:gd name="T10" fmla="*/ 106 w 170"/>
                <a:gd name="T11" fmla="*/ 25 h 92"/>
                <a:gd name="T12" fmla="*/ 67 w 170"/>
                <a:gd name="T13" fmla="*/ 24 h 92"/>
                <a:gd name="T14" fmla="*/ 63 w 170"/>
                <a:gd name="T15" fmla="*/ 30 h 92"/>
                <a:gd name="T16" fmla="*/ 64 w 170"/>
                <a:gd name="T17" fmla="*/ 15 h 92"/>
                <a:gd name="T18" fmla="*/ 35 w 170"/>
                <a:gd name="T19" fmla="*/ 15 h 92"/>
                <a:gd name="T20" fmla="*/ 39 w 170"/>
                <a:gd name="T21" fmla="*/ 26 h 92"/>
                <a:gd name="T22" fmla="*/ 27 w 170"/>
                <a:gd name="T23" fmla="*/ 23 h 92"/>
                <a:gd name="T24" fmla="*/ 12 w 170"/>
                <a:gd name="T25" fmla="*/ 64 h 92"/>
                <a:gd name="T26" fmla="*/ 2 w 170"/>
                <a:gd name="T27" fmla="*/ 91 h 92"/>
                <a:gd name="T28" fmla="*/ 5 w 170"/>
                <a:gd name="T29" fmla="*/ 89 h 92"/>
                <a:gd name="T30" fmla="*/ 18 w 170"/>
                <a:gd name="T31" fmla="*/ 64 h 92"/>
                <a:gd name="T32" fmla="*/ 8 w 170"/>
                <a:gd name="T33" fmla="*/ 46 h 92"/>
                <a:gd name="T34" fmla="*/ 45 w 170"/>
                <a:gd name="T35" fmla="*/ 46 h 92"/>
                <a:gd name="T36" fmla="*/ 35 w 170"/>
                <a:gd name="T37" fmla="*/ 64 h 92"/>
                <a:gd name="T38" fmla="*/ 49 w 170"/>
                <a:gd name="T39" fmla="*/ 89 h 92"/>
                <a:gd name="T40" fmla="*/ 51 w 170"/>
                <a:gd name="T41" fmla="*/ 91 h 92"/>
                <a:gd name="T42" fmla="*/ 69 w 170"/>
                <a:gd name="T43" fmla="*/ 29 h 92"/>
                <a:gd name="T44" fmla="*/ 116 w 170"/>
                <a:gd name="T45" fmla="*/ 89 h 92"/>
                <a:gd name="T46" fmla="*/ 119 w 170"/>
                <a:gd name="T47" fmla="*/ 91 h 92"/>
                <a:gd name="T48" fmla="*/ 121 w 170"/>
                <a:gd name="T49" fmla="*/ 89 h 92"/>
                <a:gd name="T50" fmla="*/ 134 w 170"/>
                <a:gd name="T51" fmla="*/ 64 h 92"/>
                <a:gd name="T52" fmla="*/ 125 w 170"/>
                <a:gd name="T53" fmla="*/ 46 h 92"/>
                <a:gd name="T54" fmla="*/ 162 w 170"/>
                <a:gd name="T55" fmla="*/ 46 h 92"/>
                <a:gd name="T56" fmla="*/ 152 w 170"/>
                <a:gd name="T57" fmla="*/ 64 h 92"/>
                <a:gd name="T58" fmla="*/ 165 w 170"/>
                <a:gd name="T59" fmla="*/ 89 h 92"/>
                <a:gd name="T60" fmla="*/ 170 w 170"/>
                <a:gd name="T61" fmla="*/ 88 h 92"/>
                <a:gd name="T62" fmla="*/ 115 w 170"/>
                <a:gd name="T63" fmla="*/ 27 h 92"/>
                <a:gd name="T64" fmla="*/ 115 w 170"/>
                <a:gd name="T65" fmla="*/ 23 h 92"/>
                <a:gd name="T66" fmla="*/ 120 w 170"/>
                <a:gd name="T67" fmla="*/ 5 h 92"/>
                <a:gd name="T68" fmla="*/ 125 w 170"/>
                <a:gd name="T69" fmla="*/ 23 h 92"/>
                <a:gd name="T70" fmla="*/ 125 w 170"/>
                <a:gd name="T71" fmla="*/ 27 h 92"/>
                <a:gd name="T72" fmla="*/ 119 w 170"/>
                <a:gd name="T73" fmla="*/ 46 h 92"/>
                <a:gd name="T74" fmla="*/ 119 w 170"/>
                <a:gd name="T75" fmla="*/ 78 h 92"/>
                <a:gd name="T76" fmla="*/ 115 w 170"/>
                <a:gd name="T77" fmla="*/ 27 h 92"/>
                <a:gd name="T78" fmla="*/ 43 w 170"/>
                <a:gd name="T79" fmla="*/ 29 h 92"/>
                <a:gd name="T80" fmla="*/ 46 w 170"/>
                <a:gd name="T81" fmla="*/ 25 h 92"/>
                <a:gd name="T82" fmla="*/ 41 w 170"/>
                <a:gd name="T83" fmla="*/ 15 h 92"/>
                <a:gd name="T84" fmla="*/ 59 w 170"/>
                <a:gd name="T85" fmla="*/ 15 h 92"/>
                <a:gd name="T86" fmla="*/ 54 w 170"/>
                <a:gd name="T87" fmla="*/ 25 h 92"/>
                <a:gd name="T88" fmla="*/ 61 w 170"/>
                <a:gd name="T89" fmla="*/ 39 h 92"/>
                <a:gd name="T90" fmla="*/ 42 w 170"/>
                <a:gd name="T91" fmla="*/ 6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0" h="92">
                  <a:moveTo>
                    <a:pt x="158" y="64"/>
                  </a:moveTo>
                  <a:cubicBezTo>
                    <a:pt x="164" y="60"/>
                    <a:pt x="167" y="53"/>
                    <a:pt x="167" y="46"/>
                  </a:cubicBezTo>
                  <a:cubicBezTo>
                    <a:pt x="167" y="33"/>
                    <a:pt x="156" y="23"/>
                    <a:pt x="143" y="23"/>
                  </a:cubicBezTo>
                  <a:cubicBezTo>
                    <a:pt x="139" y="23"/>
                    <a:pt x="135" y="24"/>
                    <a:pt x="131" y="26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1" y="26"/>
                    <a:pt x="131" y="25"/>
                    <a:pt x="130" y="25"/>
                  </a:cubicBezTo>
                  <a:cubicBezTo>
                    <a:pt x="133" y="22"/>
                    <a:pt x="135" y="19"/>
                    <a:pt x="135" y="15"/>
                  </a:cubicBezTo>
                  <a:cubicBezTo>
                    <a:pt x="135" y="7"/>
                    <a:pt x="128" y="0"/>
                    <a:pt x="120" y="0"/>
                  </a:cubicBezTo>
                  <a:cubicBezTo>
                    <a:pt x="112" y="0"/>
                    <a:pt x="106" y="7"/>
                    <a:pt x="106" y="15"/>
                  </a:cubicBezTo>
                  <a:cubicBezTo>
                    <a:pt x="106" y="19"/>
                    <a:pt x="107" y="22"/>
                    <a:pt x="110" y="25"/>
                  </a:cubicBezTo>
                  <a:cubicBezTo>
                    <a:pt x="109" y="26"/>
                    <a:pt x="108" y="28"/>
                    <a:pt x="107" y="30"/>
                  </a:cubicBezTo>
                  <a:cubicBezTo>
                    <a:pt x="106" y="25"/>
                    <a:pt x="106" y="25"/>
                    <a:pt x="106" y="25"/>
                  </a:cubicBezTo>
                  <a:cubicBezTo>
                    <a:pt x="105" y="24"/>
                    <a:pt x="104" y="24"/>
                    <a:pt x="103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6" y="24"/>
                    <a:pt x="65" y="24"/>
                    <a:pt x="64" y="25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2" y="28"/>
                    <a:pt x="61" y="26"/>
                    <a:pt x="60" y="25"/>
                  </a:cubicBezTo>
                  <a:cubicBezTo>
                    <a:pt x="63" y="22"/>
                    <a:pt x="64" y="19"/>
                    <a:pt x="64" y="15"/>
                  </a:cubicBezTo>
                  <a:cubicBezTo>
                    <a:pt x="64" y="7"/>
                    <a:pt x="58" y="0"/>
                    <a:pt x="50" y="0"/>
                  </a:cubicBezTo>
                  <a:cubicBezTo>
                    <a:pt x="42" y="0"/>
                    <a:pt x="35" y="7"/>
                    <a:pt x="35" y="15"/>
                  </a:cubicBezTo>
                  <a:cubicBezTo>
                    <a:pt x="35" y="19"/>
                    <a:pt x="37" y="22"/>
                    <a:pt x="40" y="25"/>
                  </a:cubicBezTo>
                  <a:cubicBezTo>
                    <a:pt x="39" y="25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5" y="24"/>
                    <a:pt x="31" y="23"/>
                    <a:pt x="27" y="23"/>
                  </a:cubicBezTo>
                  <a:cubicBezTo>
                    <a:pt x="14" y="23"/>
                    <a:pt x="3" y="33"/>
                    <a:pt x="3" y="46"/>
                  </a:cubicBezTo>
                  <a:cubicBezTo>
                    <a:pt x="3" y="53"/>
                    <a:pt x="6" y="60"/>
                    <a:pt x="12" y="64"/>
                  </a:cubicBezTo>
                  <a:cubicBezTo>
                    <a:pt x="1" y="75"/>
                    <a:pt x="0" y="88"/>
                    <a:pt x="0" y="88"/>
                  </a:cubicBezTo>
                  <a:cubicBezTo>
                    <a:pt x="0" y="90"/>
                    <a:pt x="1" y="91"/>
                    <a:pt x="2" y="91"/>
                  </a:cubicBezTo>
                  <a:cubicBezTo>
                    <a:pt x="3" y="91"/>
                    <a:pt x="4" y="91"/>
                    <a:pt x="4" y="90"/>
                  </a:cubicBezTo>
                  <a:cubicBezTo>
                    <a:pt x="5" y="90"/>
                    <a:pt x="5" y="89"/>
                    <a:pt x="5" y="89"/>
                  </a:cubicBezTo>
                  <a:cubicBezTo>
                    <a:pt x="5" y="89"/>
                    <a:pt x="6" y="75"/>
                    <a:pt x="17" y="66"/>
                  </a:cubicBezTo>
                  <a:cubicBezTo>
                    <a:pt x="18" y="66"/>
                    <a:pt x="18" y="65"/>
                    <a:pt x="18" y="64"/>
                  </a:cubicBezTo>
                  <a:cubicBezTo>
                    <a:pt x="18" y="63"/>
                    <a:pt x="18" y="62"/>
                    <a:pt x="17" y="62"/>
                  </a:cubicBezTo>
                  <a:cubicBezTo>
                    <a:pt x="12" y="59"/>
                    <a:pt x="8" y="53"/>
                    <a:pt x="8" y="46"/>
                  </a:cubicBezTo>
                  <a:cubicBezTo>
                    <a:pt x="8" y="36"/>
                    <a:pt x="17" y="28"/>
                    <a:pt x="27" y="28"/>
                  </a:cubicBezTo>
                  <a:cubicBezTo>
                    <a:pt x="37" y="28"/>
                    <a:pt x="45" y="36"/>
                    <a:pt x="45" y="46"/>
                  </a:cubicBezTo>
                  <a:cubicBezTo>
                    <a:pt x="45" y="53"/>
                    <a:pt x="42" y="59"/>
                    <a:pt x="37" y="62"/>
                  </a:cubicBezTo>
                  <a:cubicBezTo>
                    <a:pt x="36" y="62"/>
                    <a:pt x="36" y="63"/>
                    <a:pt x="35" y="64"/>
                  </a:cubicBezTo>
                  <a:cubicBezTo>
                    <a:pt x="35" y="65"/>
                    <a:pt x="36" y="66"/>
                    <a:pt x="36" y="66"/>
                  </a:cubicBezTo>
                  <a:cubicBezTo>
                    <a:pt x="47" y="75"/>
                    <a:pt x="49" y="88"/>
                    <a:pt x="49" y="89"/>
                  </a:cubicBezTo>
                  <a:cubicBezTo>
                    <a:pt x="49" y="89"/>
                    <a:pt x="49" y="89"/>
                    <a:pt x="49" y="89"/>
                  </a:cubicBezTo>
                  <a:cubicBezTo>
                    <a:pt x="49" y="90"/>
                    <a:pt x="50" y="91"/>
                    <a:pt x="51" y="91"/>
                  </a:cubicBezTo>
                  <a:cubicBezTo>
                    <a:pt x="52" y="92"/>
                    <a:pt x="53" y="91"/>
                    <a:pt x="54" y="89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16" y="89"/>
                    <a:pt x="116" y="89"/>
                    <a:pt x="116" y="89"/>
                  </a:cubicBezTo>
                  <a:cubicBezTo>
                    <a:pt x="117" y="91"/>
                    <a:pt x="118" y="91"/>
                    <a:pt x="119" y="91"/>
                  </a:cubicBezTo>
                  <a:cubicBezTo>
                    <a:pt x="119" y="91"/>
                    <a:pt x="119" y="91"/>
                    <a:pt x="119" y="91"/>
                  </a:cubicBezTo>
                  <a:cubicBezTo>
                    <a:pt x="120" y="91"/>
                    <a:pt x="121" y="91"/>
                    <a:pt x="121" y="90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21" y="88"/>
                    <a:pt x="123" y="75"/>
                    <a:pt x="134" y="66"/>
                  </a:cubicBezTo>
                  <a:cubicBezTo>
                    <a:pt x="134" y="66"/>
                    <a:pt x="135" y="65"/>
                    <a:pt x="134" y="64"/>
                  </a:cubicBezTo>
                  <a:cubicBezTo>
                    <a:pt x="134" y="63"/>
                    <a:pt x="134" y="62"/>
                    <a:pt x="133" y="62"/>
                  </a:cubicBezTo>
                  <a:cubicBezTo>
                    <a:pt x="128" y="59"/>
                    <a:pt x="125" y="53"/>
                    <a:pt x="125" y="46"/>
                  </a:cubicBezTo>
                  <a:cubicBezTo>
                    <a:pt x="125" y="36"/>
                    <a:pt x="133" y="28"/>
                    <a:pt x="143" y="28"/>
                  </a:cubicBezTo>
                  <a:cubicBezTo>
                    <a:pt x="153" y="28"/>
                    <a:pt x="162" y="36"/>
                    <a:pt x="162" y="46"/>
                  </a:cubicBezTo>
                  <a:cubicBezTo>
                    <a:pt x="162" y="53"/>
                    <a:pt x="158" y="59"/>
                    <a:pt x="153" y="62"/>
                  </a:cubicBezTo>
                  <a:cubicBezTo>
                    <a:pt x="152" y="62"/>
                    <a:pt x="152" y="63"/>
                    <a:pt x="152" y="64"/>
                  </a:cubicBezTo>
                  <a:cubicBezTo>
                    <a:pt x="152" y="65"/>
                    <a:pt x="152" y="66"/>
                    <a:pt x="153" y="66"/>
                  </a:cubicBezTo>
                  <a:cubicBezTo>
                    <a:pt x="163" y="75"/>
                    <a:pt x="165" y="88"/>
                    <a:pt x="165" y="89"/>
                  </a:cubicBezTo>
                  <a:cubicBezTo>
                    <a:pt x="165" y="90"/>
                    <a:pt x="166" y="91"/>
                    <a:pt x="168" y="91"/>
                  </a:cubicBezTo>
                  <a:cubicBezTo>
                    <a:pt x="169" y="91"/>
                    <a:pt x="170" y="90"/>
                    <a:pt x="170" y="88"/>
                  </a:cubicBezTo>
                  <a:cubicBezTo>
                    <a:pt x="170" y="88"/>
                    <a:pt x="169" y="75"/>
                    <a:pt x="158" y="64"/>
                  </a:cubicBezTo>
                  <a:close/>
                  <a:moveTo>
                    <a:pt x="115" y="27"/>
                  </a:moveTo>
                  <a:cubicBezTo>
                    <a:pt x="116" y="26"/>
                    <a:pt x="116" y="26"/>
                    <a:pt x="116" y="25"/>
                  </a:cubicBezTo>
                  <a:cubicBezTo>
                    <a:pt x="116" y="24"/>
                    <a:pt x="116" y="23"/>
                    <a:pt x="115" y="23"/>
                  </a:cubicBezTo>
                  <a:cubicBezTo>
                    <a:pt x="112" y="21"/>
                    <a:pt x="111" y="18"/>
                    <a:pt x="111" y="15"/>
                  </a:cubicBezTo>
                  <a:cubicBezTo>
                    <a:pt x="111" y="10"/>
                    <a:pt x="115" y="5"/>
                    <a:pt x="120" y="5"/>
                  </a:cubicBezTo>
                  <a:cubicBezTo>
                    <a:pt x="125" y="5"/>
                    <a:pt x="129" y="10"/>
                    <a:pt x="129" y="15"/>
                  </a:cubicBezTo>
                  <a:cubicBezTo>
                    <a:pt x="129" y="18"/>
                    <a:pt x="128" y="21"/>
                    <a:pt x="125" y="23"/>
                  </a:cubicBezTo>
                  <a:cubicBezTo>
                    <a:pt x="124" y="23"/>
                    <a:pt x="124" y="24"/>
                    <a:pt x="124" y="25"/>
                  </a:cubicBezTo>
                  <a:cubicBezTo>
                    <a:pt x="124" y="26"/>
                    <a:pt x="124" y="26"/>
                    <a:pt x="125" y="27"/>
                  </a:cubicBezTo>
                  <a:cubicBezTo>
                    <a:pt x="125" y="28"/>
                    <a:pt x="126" y="28"/>
                    <a:pt x="127" y="29"/>
                  </a:cubicBezTo>
                  <a:cubicBezTo>
                    <a:pt x="122" y="34"/>
                    <a:pt x="119" y="40"/>
                    <a:pt x="119" y="46"/>
                  </a:cubicBezTo>
                  <a:cubicBezTo>
                    <a:pt x="119" y="53"/>
                    <a:pt x="122" y="60"/>
                    <a:pt x="128" y="64"/>
                  </a:cubicBezTo>
                  <a:cubicBezTo>
                    <a:pt x="124" y="68"/>
                    <a:pt x="121" y="73"/>
                    <a:pt x="119" y="78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09" y="38"/>
                    <a:pt x="110" y="31"/>
                    <a:pt x="115" y="27"/>
                  </a:cubicBezTo>
                  <a:close/>
                  <a:moveTo>
                    <a:pt x="51" y="46"/>
                  </a:moveTo>
                  <a:cubicBezTo>
                    <a:pt x="51" y="40"/>
                    <a:pt x="48" y="34"/>
                    <a:pt x="43" y="29"/>
                  </a:cubicBezTo>
                  <a:cubicBezTo>
                    <a:pt x="44" y="28"/>
                    <a:pt x="45" y="28"/>
                    <a:pt x="45" y="27"/>
                  </a:cubicBezTo>
                  <a:cubicBezTo>
                    <a:pt x="46" y="26"/>
                    <a:pt x="46" y="26"/>
                    <a:pt x="46" y="25"/>
                  </a:cubicBezTo>
                  <a:cubicBezTo>
                    <a:pt x="46" y="24"/>
                    <a:pt x="46" y="23"/>
                    <a:pt x="45" y="23"/>
                  </a:cubicBezTo>
                  <a:cubicBezTo>
                    <a:pt x="42" y="21"/>
                    <a:pt x="41" y="18"/>
                    <a:pt x="41" y="15"/>
                  </a:cubicBezTo>
                  <a:cubicBezTo>
                    <a:pt x="41" y="10"/>
                    <a:pt x="45" y="5"/>
                    <a:pt x="50" y="5"/>
                  </a:cubicBezTo>
                  <a:cubicBezTo>
                    <a:pt x="55" y="5"/>
                    <a:pt x="59" y="10"/>
                    <a:pt x="59" y="15"/>
                  </a:cubicBezTo>
                  <a:cubicBezTo>
                    <a:pt x="59" y="18"/>
                    <a:pt x="58" y="21"/>
                    <a:pt x="55" y="23"/>
                  </a:cubicBezTo>
                  <a:cubicBezTo>
                    <a:pt x="54" y="23"/>
                    <a:pt x="54" y="24"/>
                    <a:pt x="54" y="25"/>
                  </a:cubicBezTo>
                  <a:cubicBezTo>
                    <a:pt x="54" y="26"/>
                    <a:pt x="54" y="26"/>
                    <a:pt x="55" y="27"/>
                  </a:cubicBezTo>
                  <a:cubicBezTo>
                    <a:pt x="60" y="31"/>
                    <a:pt x="61" y="38"/>
                    <a:pt x="61" y="39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49" y="73"/>
                    <a:pt x="46" y="68"/>
                    <a:pt x="42" y="64"/>
                  </a:cubicBezTo>
                  <a:cubicBezTo>
                    <a:pt x="48" y="60"/>
                    <a:pt x="51" y="53"/>
                    <a:pt x="51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9306" tIns="64653" rIns="129306" bIns="64653" numCol="1" anchor="t" anchorCtr="0" compatLnSpc="1">
              <a:prstTxWarp prst="textNoShape">
                <a:avLst/>
              </a:prstTxWarp>
            </a:bodyPr>
            <a:lstStyle/>
            <a:p>
              <a:endParaRPr lang="en-AU" sz="1000"/>
            </a:p>
          </p:txBody>
        </p:sp>
      </p:grp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EFEB1E3F-559D-B35D-13C2-141227C269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371211" y="4315554"/>
            <a:ext cx="0" cy="2453382"/>
          </a:xfrm>
          <a:prstGeom prst="line">
            <a:avLst/>
          </a:prstGeom>
          <a:ln w="19050">
            <a:solidFill>
              <a:srgbClr val="46576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364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partment of Transport and Planning">
  <a:themeElements>
    <a:clrScheme name="DoTP-Reshuffle">
      <a:dk1>
        <a:sysClr val="windowText" lastClr="000000"/>
      </a:dk1>
      <a:lt1>
        <a:sysClr val="window" lastClr="FFFFFF"/>
      </a:lt1>
      <a:dk2>
        <a:srgbClr val="00B2A9"/>
      </a:dk2>
      <a:lt2>
        <a:srgbClr val="E1EEF9"/>
      </a:lt2>
      <a:accent1>
        <a:srgbClr val="CEDC00"/>
      </a:accent1>
      <a:accent2>
        <a:srgbClr val="FF9E1B"/>
      </a:accent2>
      <a:accent3>
        <a:srgbClr val="59CDC7"/>
      </a:accent3>
      <a:accent4>
        <a:srgbClr val="B2E8E5"/>
      </a:accent4>
      <a:accent5>
        <a:srgbClr val="009CA1"/>
      </a:accent5>
      <a:accent6>
        <a:srgbClr val="53565A"/>
      </a:accent6>
      <a:hlink>
        <a:srgbClr val="000000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A4 Landscape" id="{438BF162-3764-4584-B0CD-9395A47D9DAF}" vid="{B4B9E902-DE2C-4414-A3CB-8DF8900CC7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2BB819AAA975489E33CF0F50496490" ma:contentTypeVersion="10" ma:contentTypeDescription="Create a new document." ma:contentTypeScope="" ma:versionID="e8aed1a0a979e0d4bd7ee35307791cd5">
  <xsd:schema xmlns:xsd="http://www.w3.org/2001/XMLSchema" xmlns:xs="http://www.w3.org/2001/XMLSchema" xmlns:p="http://schemas.microsoft.com/office/2006/metadata/properties" xmlns:ns2="3dcb25b9-5e2a-4cbc-a1d6-f53ee7652e42" targetNamespace="http://schemas.microsoft.com/office/2006/metadata/properties" ma:root="true" ma:fieldsID="bdac9d7d3ad936dc420253b2d2cf3a3d" ns2:_="">
    <xsd:import namespace="3dcb25b9-5e2a-4cbc-a1d6-f53ee7652e42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cb25b9-5e2a-4cbc-a1d6-f53ee7652e42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62a39602-bab5-4ac0-a14f-71daef3a253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dcb25b9-5e2a-4cbc-a1d6-f53ee7652e4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D95502D-380B-4CB7-8B03-BD2E8C90A97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C8260A-B38B-4F78-B65B-B4056A8EF53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dcb25b9-5e2a-4cbc-a1d6-f53ee7652e4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46A44D6-8EE8-46A4-B93B-38D5021E5147}">
  <ds:schemaRefs>
    <ds:schemaRef ds:uri="http://purl.org/dc/terms/"/>
    <ds:schemaRef ds:uri="0c91a7aa-a398-43c8-869c-d9c0b2616b89"/>
    <ds:schemaRef ds:uri="904a19e5-0813-484f-adcb-c6892a1c3faf"/>
    <ds:schemaRef ds:uri="http://purl.org/dc/dcmitype/"/>
    <ds:schemaRef ds:uri="http://www.w3.org/XML/1998/namespace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3dcb25b9-5e2a-4cbc-a1d6-f53ee7652e42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A4 Landscape</Template>
  <TotalTime>84</TotalTime>
  <Words>440</Words>
  <Application>Microsoft Office PowerPoint</Application>
  <PresentationFormat>Custom</PresentationFormat>
  <Paragraphs>3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Open Sans Light</vt:lpstr>
      <vt:lpstr>Roboto</vt:lpstr>
      <vt:lpstr>Segoe UI Semilight</vt:lpstr>
      <vt:lpstr>Department of Transport and Planning</vt:lpstr>
      <vt:lpstr>think-cell Slide</vt:lpstr>
      <vt:lpstr>Post-submission consultation process</vt:lpstr>
    </vt:vector>
  </TitlesOfParts>
  <Company>Nous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ST-OBJECTION CONSULTATION PROCESS</dc:title>
  <dc:creator>Alannah Tran</dc:creator>
  <cp:lastModifiedBy>Alannah Tran</cp:lastModifiedBy>
  <cp:revision>7</cp:revision>
  <dcterms:created xsi:type="dcterms:W3CDTF">2023-06-23T02:31:08Z</dcterms:created>
  <dcterms:modified xsi:type="dcterms:W3CDTF">2023-07-31T01:1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42BB819AAA975489E33CF0F50496490</vt:lpwstr>
  </property>
  <property fmtid="{D5CDD505-2E9C-101B-9397-08002B2CF9AE}" pid="3" name="MSIP_Label_4257e2ab-f512-40e2-9c9a-c64247360765_Enabled">
    <vt:lpwstr>true</vt:lpwstr>
  </property>
  <property fmtid="{D5CDD505-2E9C-101B-9397-08002B2CF9AE}" pid="4" name="MSIP_Label_4257e2ab-f512-40e2-9c9a-c64247360765_SetDate">
    <vt:lpwstr>2023-06-08T00:52:44Z</vt:lpwstr>
  </property>
  <property fmtid="{D5CDD505-2E9C-101B-9397-08002B2CF9AE}" pid="5" name="MSIP_Label_4257e2ab-f512-40e2-9c9a-c64247360765_Method">
    <vt:lpwstr>Privileged</vt:lpwstr>
  </property>
  <property fmtid="{D5CDD505-2E9C-101B-9397-08002B2CF9AE}" pid="6" name="MSIP_Label_4257e2ab-f512-40e2-9c9a-c64247360765_Name">
    <vt:lpwstr>OFFICIAL</vt:lpwstr>
  </property>
  <property fmtid="{D5CDD505-2E9C-101B-9397-08002B2CF9AE}" pid="7" name="MSIP_Label_4257e2ab-f512-40e2-9c9a-c64247360765_SiteId">
    <vt:lpwstr>e8bdd6f7-fc18-4e48-a554-7f547927223b</vt:lpwstr>
  </property>
  <property fmtid="{D5CDD505-2E9C-101B-9397-08002B2CF9AE}" pid="8" name="MSIP_Label_4257e2ab-f512-40e2-9c9a-c64247360765_ActionId">
    <vt:lpwstr>36312799-0eca-438f-b5d5-b553404ec4a3</vt:lpwstr>
  </property>
  <property fmtid="{D5CDD505-2E9C-101B-9397-08002B2CF9AE}" pid="9" name="MSIP_Label_4257e2ab-f512-40e2-9c9a-c64247360765_ContentBits">
    <vt:lpwstr>2</vt:lpwstr>
  </property>
  <property fmtid="{D5CDD505-2E9C-101B-9397-08002B2CF9AE}" pid="10" name="MediaServiceImageTags">
    <vt:lpwstr/>
  </property>
</Properties>
</file>